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  <p:sldMasterId id="2147483662" r:id="rId2"/>
  </p:sldMasterIdLst>
  <p:notesMasterIdLst>
    <p:notesMasterId r:id="rId11"/>
  </p:notesMasterIdLst>
  <p:sldIdLst>
    <p:sldId id="256" r:id="rId3"/>
    <p:sldId id="389" r:id="rId4"/>
    <p:sldId id="390" r:id="rId5"/>
    <p:sldId id="391" r:id="rId6"/>
    <p:sldId id="392" r:id="rId7"/>
    <p:sldId id="393" r:id="rId8"/>
    <p:sldId id="394" r:id="rId9"/>
    <p:sldId id="385" r:id="rId10"/>
  </p:sldIdLst>
  <p:sldSz cx="24384000" cy="13716000"/>
  <p:notesSz cx="6858000" cy="9144000"/>
  <p:custDataLst>
    <p:tags r:id="rId12"/>
  </p:custDataLst>
  <p:defaultTextStyle>
    <a:lvl1pPr algn="ctr" defTabSz="825500">
      <a:defRPr sz="5000">
        <a:latin typeface="+mn-lt"/>
        <a:ea typeface="+mn-ea"/>
        <a:cs typeface="+mn-cs"/>
        <a:sym typeface="Helvetica Light"/>
      </a:defRPr>
    </a:lvl1pPr>
    <a:lvl2pPr indent="228600" algn="ctr" defTabSz="825500">
      <a:defRPr sz="5000">
        <a:latin typeface="+mn-lt"/>
        <a:ea typeface="+mn-ea"/>
        <a:cs typeface="+mn-cs"/>
        <a:sym typeface="Helvetica Light"/>
      </a:defRPr>
    </a:lvl2pPr>
    <a:lvl3pPr indent="457200" algn="ctr" defTabSz="825500">
      <a:defRPr sz="5000">
        <a:latin typeface="+mn-lt"/>
        <a:ea typeface="+mn-ea"/>
        <a:cs typeface="+mn-cs"/>
        <a:sym typeface="Helvetica Light"/>
      </a:defRPr>
    </a:lvl3pPr>
    <a:lvl4pPr indent="685800" algn="ctr" defTabSz="825500">
      <a:defRPr sz="5000">
        <a:latin typeface="+mn-lt"/>
        <a:ea typeface="+mn-ea"/>
        <a:cs typeface="+mn-cs"/>
        <a:sym typeface="Helvetica Light"/>
      </a:defRPr>
    </a:lvl4pPr>
    <a:lvl5pPr indent="914400" algn="ctr" defTabSz="825500">
      <a:defRPr sz="5000">
        <a:latin typeface="+mn-lt"/>
        <a:ea typeface="+mn-ea"/>
        <a:cs typeface="+mn-cs"/>
        <a:sym typeface="Helvetica Light"/>
      </a:defRPr>
    </a:lvl5pPr>
    <a:lvl6pPr indent="1143000" algn="ctr" defTabSz="825500">
      <a:defRPr sz="5000">
        <a:latin typeface="+mn-lt"/>
        <a:ea typeface="+mn-ea"/>
        <a:cs typeface="+mn-cs"/>
        <a:sym typeface="Helvetica Light"/>
      </a:defRPr>
    </a:lvl6pPr>
    <a:lvl7pPr indent="1371600" algn="ctr" defTabSz="825500">
      <a:defRPr sz="5000">
        <a:latin typeface="+mn-lt"/>
        <a:ea typeface="+mn-ea"/>
        <a:cs typeface="+mn-cs"/>
        <a:sym typeface="Helvetica Light"/>
      </a:defRPr>
    </a:lvl7pPr>
    <a:lvl8pPr indent="1600200" algn="ctr" defTabSz="825500">
      <a:defRPr sz="5000">
        <a:latin typeface="+mn-lt"/>
        <a:ea typeface="+mn-ea"/>
        <a:cs typeface="+mn-cs"/>
        <a:sym typeface="Helvetica Light"/>
      </a:defRPr>
    </a:lvl8pPr>
    <a:lvl9pPr indent="1828800" algn="ctr" defTabSz="825500">
      <a:defRPr sz="5000">
        <a:latin typeface="+mn-lt"/>
        <a:ea typeface="+mn-ea"/>
        <a:cs typeface="+mn-cs"/>
        <a:sym typeface="Helvetica Light"/>
      </a:defRPr>
    </a:lvl9pPr>
  </p:defaultTextStyle>
  <p:extLst>
    <p:ext uri="{EFAFB233-063F-42B5-8137-9DF3F51BA10A}">
      <p15:sldGuideLst xmlns:p15="http://schemas.microsoft.com/office/powerpoint/2012/main">
        <p15:guide id="1" orient="horz" pos="5114" userDrawn="1">
          <p15:clr>
            <a:srgbClr val="A4A3A4"/>
          </p15:clr>
        </p15:guide>
        <p15:guide id="2" pos="7612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27E99"/>
    <a:srgbClr val="F39D3D"/>
    <a:srgbClr val="2BA18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940675A-B579-460E-94D1-54222C63F5DA}">
  <a:tblStyle styleId="{4C3C2611-4C71-4FC5-86AE-919BDF0F9419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FFFFFF"/>
          </a:solidFill>
        </a:fill>
      </a:tcStyle>
    </a:wholeTbl>
    <a:band2H>
      <a:tcTxStyle/>
      <a:tcStyle>
        <a:tcBdr/>
        <a:fill>
          <a:solidFill>
            <a:srgbClr val="E3E5E8"/>
          </a:solidFill>
        </a:fill>
      </a:tcStyle>
    </a:band2H>
    <a:firstCol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398CCE"/>
          </a:solidFill>
        </a:fill>
      </a:tcStyle>
    </a:firstCol>
    <a:lastRow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solidFill>
                <a:srgbClr val="3797C6"/>
              </a:solidFill>
              <a:prstDash val="solid"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FFFFFF"/>
          </a:solidFill>
        </a:fill>
      </a:tcStyle>
    </a:lastRow>
    <a:firstRow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0365C0"/>
          </a:solidFill>
        </a:fill>
      </a:tcStyle>
    </a:firstRow>
  </a:tblStyle>
  <a:tblStyle styleId="{C7B018BB-80A7-4F77-B60F-C8B233D01FF8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B8B8B8"/>
              </a:solidFill>
              <a:prstDash val="solid"/>
              <a:miter lim="400000"/>
            </a:ln>
          </a:left>
          <a:right>
            <a:ln w="12700" cap="flat">
              <a:solidFill>
                <a:srgbClr val="B8B8B8"/>
              </a:solidFill>
              <a:prstDash val="solid"/>
              <a:miter lim="400000"/>
            </a:ln>
          </a:right>
          <a:top>
            <a:ln w="12700" cap="flat">
              <a:solidFill>
                <a:srgbClr val="B8B8B8"/>
              </a:solidFill>
              <a:prstDash val="solid"/>
              <a:miter lim="400000"/>
            </a:ln>
          </a:top>
          <a:bottom>
            <a:ln w="12700" cap="flat">
              <a:solidFill>
                <a:srgbClr val="B8B8B8"/>
              </a:solidFill>
              <a:prstDash val="solid"/>
              <a:miter lim="400000"/>
            </a:ln>
          </a:bottom>
          <a:insideH>
            <a:ln w="12700" cap="flat">
              <a:solidFill>
                <a:srgbClr val="B8B8B8"/>
              </a:solidFill>
              <a:prstDash val="solid"/>
              <a:miter lim="400000"/>
            </a:ln>
          </a:insideH>
          <a:insideV>
            <a:ln w="12700" cap="flat">
              <a:solidFill>
                <a:srgbClr val="B8B8B8"/>
              </a:solidFill>
              <a:prstDash val="solid"/>
              <a:miter lim="400000"/>
            </a:ln>
          </a:insideV>
        </a:tcBdr>
        <a:fill>
          <a:solidFill>
            <a:srgbClr val="EBEBEB"/>
          </a:solidFill>
        </a:fill>
      </a:tcStyle>
    </a:wholeTbl>
    <a:band2H>
      <a:tcTxStyle/>
      <a:tcStyle>
        <a:tcBdr/>
        <a:fill>
          <a:solidFill>
            <a:srgbClr val="E1E0DA"/>
          </a:solidFill>
        </a:fill>
      </a:tcStyle>
    </a:band2H>
    <a:firstCol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606060"/>
              </a:solidFill>
              <a:prstDash val="solid"/>
              <a:miter lim="400000"/>
            </a:ln>
          </a:left>
          <a:right>
            <a:ln w="12700" cap="flat">
              <a:solidFill>
                <a:srgbClr val="606060"/>
              </a:solidFill>
              <a:prstDash val="solid"/>
              <a:miter lim="400000"/>
            </a:ln>
          </a:right>
          <a:top>
            <a:ln w="12700" cap="flat">
              <a:solidFill>
                <a:srgbClr val="606060"/>
              </a:solidFill>
              <a:prstDash val="solid"/>
              <a:miter lim="400000"/>
            </a:ln>
          </a:top>
          <a:bottom>
            <a:ln w="12700" cap="flat">
              <a:solidFill>
                <a:srgbClr val="606060"/>
              </a:solidFill>
              <a:prstDash val="solid"/>
              <a:miter lim="400000"/>
            </a:ln>
          </a:bottom>
          <a:insideH>
            <a:ln w="12700" cap="flat">
              <a:solidFill>
                <a:srgbClr val="606060"/>
              </a:solidFill>
              <a:prstDash val="solid"/>
              <a:miter lim="400000"/>
            </a:ln>
          </a:insideH>
          <a:insideV>
            <a:ln w="12700" cap="flat">
              <a:solidFill>
                <a:srgbClr val="606060"/>
              </a:solidFill>
              <a:prstDash val="solid"/>
              <a:miter lim="400000"/>
            </a:ln>
          </a:insideV>
        </a:tcBdr>
        <a:fill>
          <a:solidFill>
            <a:srgbClr val="5AC831"/>
          </a:solidFill>
        </a:fill>
      </a:tcStyle>
    </a:firstCol>
    <a:lastRow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B8B8B8"/>
              </a:solidFill>
              <a:prstDash val="solid"/>
              <a:miter lim="400000"/>
            </a:ln>
          </a:left>
          <a:right>
            <a:ln w="12700" cap="flat">
              <a:solidFill>
                <a:srgbClr val="B8B8B8"/>
              </a:solidFill>
              <a:prstDash val="solid"/>
              <a:miter lim="400000"/>
            </a:ln>
          </a:right>
          <a:top>
            <a:ln w="25400" cap="flat">
              <a:solidFill>
                <a:srgbClr val="606060"/>
              </a:solidFill>
              <a:prstDash val="solid"/>
              <a:miter lim="400000"/>
            </a:ln>
          </a:top>
          <a:bottom>
            <a:ln w="12700" cap="flat">
              <a:solidFill>
                <a:srgbClr val="606060"/>
              </a:solidFill>
              <a:prstDash val="solid"/>
              <a:miter lim="400000"/>
            </a:ln>
          </a:bottom>
          <a:insideH>
            <a:ln w="12700" cap="flat">
              <a:solidFill>
                <a:srgbClr val="B8B8B8"/>
              </a:solidFill>
              <a:prstDash val="solid"/>
              <a:miter lim="400000"/>
            </a:ln>
          </a:insideH>
          <a:insideV>
            <a:ln w="12700" cap="flat">
              <a:solidFill>
                <a:srgbClr val="B8B8B8"/>
              </a:solidFill>
              <a:prstDash val="solid"/>
              <a:miter lim="400000"/>
            </a:ln>
          </a:insideV>
        </a:tcBdr>
        <a:fill>
          <a:solidFill>
            <a:srgbClr val="EBEBEB"/>
          </a:solidFill>
        </a:fill>
      </a:tcStyle>
    </a:lastRow>
    <a:firstRow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606060"/>
              </a:solidFill>
              <a:prstDash val="solid"/>
              <a:miter lim="400000"/>
            </a:ln>
          </a:left>
          <a:right>
            <a:ln w="12700" cap="flat">
              <a:solidFill>
                <a:srgbClr val="606060"/>
              </a:solidFill>
              <a:prstDash val="solid"/>
              <a:miter lim="400000"/>
            </a:ln>
          </a:right>
          <a:top>
            <a:ln w="12700" cap="flat">
              <a:solidFill>
                <a:srgbClr val="606060"/>
              </a:solidFill>
              <a:prstDash val="solid"/>
              <a:miter lim="400000"/>
            </a:ln>
          </a:top>
          <a:bottom>
            <a:ln w="12700" cap="flat">
              <a:solidFill>
                <a:srgbClr val="606060"/>
              </a:solidFill>
              <a:prstDash val="solid"/>
              <a:miter lim="400000"/>
            </a:ln>
          </a:bottom>
          <a:insideH>
            <a:ln w="12700" cap="flat">
              <a:solidFill>
                <a:srgbClr val="606060"/>
              </a:solidFill>
              <a:prstDash val="solid"/>
              <a:miter lim="400000"/>
            </a:ln>
          </a:insideH>
          <a:insideV>
            <a:ln w="12700" cap="flat">
              <a:solidFill>
                <a:srgbClr val="606060"/>
              </a:solidFill>
              <a:prstDash val="solid"/>
              <a:miter lim="400000"/>
            </a:ln>
          </a:insideV>
        </a:tcBdr>
        <a:fill>
          <a:solidFill>
            <a:srgbClr val="00882B"/>
          </a:solidFill>
        </a:fill>
      </a:tcStyle>
    </a:firstRow>
  </a:tblStyle>
  <a:tblStyle styleId="{EEE7283C-3CF3-47DC-8721-378D4A62B228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left>
          <a:right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right>
          <a:top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top>
          <a:bottom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bottom>
          <a:insideH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insideV>
        </a:tcBdr>
        <a:fill>
          <a:solidFill>
            <a:srgbClr val="E6E4D7"/>
          </a:solidFill>
        </a:fill>
      </a:tcStyle>
    </a:wholeTbl>
    <a:band2H>
      <a:tcTxStyle/>
      <a:tcStyle>
        <a:tcBdr/>
        <a:fill>
          <a:solidFill>
            <a:srgbClr val="C3C2C2"/>
          </a:solidFill>
        </a:fill>
      </a:tcStyle>
    </a:band2H>
    <a:firstCol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5D5D5D"/>
              </a:solidFill>
              <a:prstDash val="solid"/>
              <a:miter lim="400000"/>
            </a:ln>
          </a:left>
          <a:right>
            <a:ln w="12700" cap="flat">
              <a:solidFill>
                <a:srgbClr val="5D5D5D"/>
              </a:solidFill>
              <a:prstDash val="solid"/>
              <a:miter lim="400000"/>
            </a:ln>
          </a:right>
          <a:top>
            <a:ln w="12700" cap="flat">
              <a:solidFill>
                <a:srgbClr val="5D5D5D"/>
              </a:solidFill>
              <a:prstDash val="solid"/>
              <a:miter lim="400000"/>
            </a:ln>
          </a:top>
          <a:bottom>
            <a:ln w="12700" cap="flat">
              <a:solidFill>
                <a:srgbClr val="5D5D5D"/>
              </a:solidFill>
              <a:prstDash val="solid"/>
              <a:miter lim="400000"/>
            </a:ln>
          </a:bottom>
          <a:insideH>
            <a:ln w="12700" cap="flat">
              <a:solidFill>
                <a:srgbClr val="5D5D5D"/>
              </a:solidFill>
              <a:prstDash val="solid"/>
              <a:miter lim="400000"/>
            </a:ln>
          </a:insideH>
          <a:insideV>
            <a:ln w="12700" cap="flat">
              <a:solidFill>
                <a:srgbClr val="5D5D5D"/>
              </a:solidFill>
              <a:prstDash val="solid"/>
              <a:miter lim="400000"/>
            </a:ln>
          </a:insideV>
        </a:tcBdr>
        <a:fill>
          <a:solidFill>
            <a:srgbClr val="909C99"/>
          </a:solidFill>
        </a:fill>
      </a:tcStyle>
    </a:firstCol>
    <a:lastRow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5D5D5D"/>
              </a:solidFill>
              <a:prstDash val="solid"/>
              <a:miter lim="400000"/>
            </a:ln>
          </a:left>
          <a:right>
            <a:ln w="12700" cap="flat">
              <a:solidFill>
                <a:srgbClr val="5D5D5D"/>
              </a:solidFill>
              <a:prstDash val="solid"/>
              <a:miter lim="400000"/>
            </a:ln>
          </a:right>
          <a:top>
            <a:ln w="12700" cap="flat">
              <a:solidFill>
                <a:srgbClr val="5D5D5D"/>
              </a:solidFill>
              <a:prstDash val="solid"/>
              <a:miter lim="400000"/>
            </a:ln>
          </a:top>
          <a:bottom>
            <a:ln w="12700" cap="flat">
              <a:solidFill>
                <a:srgbClr val="5D5D5D"/>
              </a:solidFill>
              <a:prstDash val="solid"/>
              <a:miter lim="400000"/>
            </a:ln>
          </a:bottom>
          <a:insideH>
            <a:ln w="12700" cap="flat">
              <a:solidFill>
                <a:srgbClr val="5D5D5D"/>
              </a:solidFill>
              <a:prstDash val="solid"/>
              <a:miter lim="400000"/>
            </a:ln>
          </a:insideH>
          <a:insideV>
            <a:ln w="12700" cap="flat">
              <a:solidFill>
                <a:srgbClr val="5D5D5D"/>
              </a:solidFill>
              <a:prstDash val="solid"/>
              <a:miter lim="400000"/>
            </a:ln>
          </a:insideV>
        </a:tcBdr>
        <a:fill>
          <a:solidFill>
            <a:srgbClr val="97764E"/>
          </a:solidFill>
        </a:fill>
      </a:tcStyle>
    </a:lastRow>
    <a:firstRow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5D5D5D"/>
              </a:solidFill>
              <a:prstDash val="solid"/>
              <a:miter lim="400000"/>
            </a:ln>
          </a:left>
          <a:right>
            <a:ln w="12700" cap="flat">
              <a:solidFill>
                <a:srgbClr val="5D5D5D"/>
              </a:solidFill>
              <a:prstDash val="solid"/>
              <a:miter lim="400000"/>
            </a:ln>
          </a:right>
          <a:top>
            <a:ln w="12700" cap="flat">
              <a:solidFill>
                <a:srgbClr val="5D5D5D"/>
              </a:solidFill>
              <a:prstDash val="solid"/>
              <a:miter lim="400000"/>
            </a:ln>
          </a:top>
          <a:bottom>
            <a:ln w="12700" cap="flat">
              <a:solidFill>
                <a:srgbClr val="5D5D5D"/>
              </a:solidFill>
              <a:prstDash val="solid"/>
              <a:miter lim="400000"/>
            </a:ln>
          </a:bottom>
          <a:insideH>
            <a:ln w="12700" cap="flat">
              <a:solidFill>
                <a:srgbClr val="5D5D5D"/>
              </a:solidFill>
              <a:prstDash val="solid"/>
              <a:miter lim="400000"/>
            </a:ln>
          </a:insideH>
          <a:insideV>
            <a:ln w="12700" cap="flat">
              <a:solidFill>
                <a:srgbClr val="5D5D5D"/>
              </a:solidFill>
              <a:prstDash val="solid"/>
              <a:miter lim="400000"/>
            </a:ln>
          </a:insideV>
        </a:tcBdr>
        <a:fill>
          <a:solidFill>
            <a:srgbClr val="97764E"/>
          </a:solidFill>
        </a:fill>
      </a:tcStyle>
    </a:firstRow>
  </a:tblStyle>
  <a:tblStyle styleId="{CF821DB8-F4EB-4A41-A1BA-3FCAFE7338EE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000000"/>
              </a:solidFill>
              <a:prstDash val="solid"/>
              <a:miter lim="400000"/>
            </a:ln>
          </a:top>
          <a:bottom>
            <a:ln w="127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prstDash val="solid"/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solidFill>
            <a:srgbClr val="EBEBEB"/>
          </a:solidFill>
        </a:fill>
      </a:tcStyle>
    </a:wholeTbl>
    <a:band2H>
      <a:tcTxStyle/>
      <a:tcStyle>
        <a:tcBdr/>
        <a:fill>
          <a:solidFill>
            <a:srgbClr val="DCE5E6"/>
          </a:solidFill>
        </a:fill>
      </a:tcStyle>
    </a:band2H>
    <a:firstCol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000000"/>
              </a:solidFill>
              <a:prstDash val="solid"/>
              <a:miter lim="400000"/>
            </a:ln>
          </a:top>
          <a:bottom>
            <a:ln w="127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prstDash val="solid"/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solidFill>
            <a:srgbClr val="5E7790"/>
          </a:solidFill>
        </a:fill>
      </a:tcStyle>
    </a:firstCol>
    <a:lastRow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000000"/>
              </a:solidFill>
              <a:prstDash val="solid"/>
              <a:miter lim="400000"/>
            </a:ln>
          </a:top>
          <a:bottom>
            <a:ln w="127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prstDash val="solid"/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solidFill>
            <a:srgbClr val="5E7790"/>
          </a:solidFill>
        </a:fill>
      </a:tcStyle>
    </a:lastRow>
    <a:firstRow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000000"/>
              </a:solidFill>
              <a:prstDash val="solid"/>
              <a:miter lim="400000"/>
            </a:ln>
          </a:top>
          <a:bottom>
            <a:ln w="127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prstDash val="solid"/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solidFill>
            <a:srgbClr val="5E7790"/>
          </a:solidFill>
        </a:fill>
      </a:tcStyle>
    </a:firstRow>
  </a:tblStyle>
  <a:tblStyle styleId="{33BA23B1-9221-436E-865A-0063620EA4FD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FFFFFF"/>
              </a:solidFill>
              <a:prstDash val="solid"/>
              <a:miter lim="400000"/>
            </a:ln>
          </a:left>
          <a:right>
            <a:ln w="12700" cap="flat">
              <a:solidFill>
                <a:srgbClr val="FFFFFF"/>
              </a:solidFill>
              <a:prstDash val="solid"/>
              <a:miter lim="400000"/>
            </a:ln>
          </a:right>
          <a:top>
            <a:ln w="12700" cap="flat">
              <a:solidFill>
                <a:srgbClr val="FFFFFF"/>
              </a:solidFill>
              <a:prstDash val="solid"/>
              <a:miter lim="400000"/>
            </a:ln>
          </a:top>
          <a:bottom>
            <a:ln w="12700" cap="flat">
              <a:solidFill>
                <a:srgbClr val="FFFFFF"/>
              </a:solidFill>
              <a:prstDash val="solid"/>
              <a:miter lim="400000"/>
            </a:ln>
          </a:bottom>
          <a:insideH>
            <a:ln w="12700" cap="flat">
              <a:solidFill>
                <a:srgbClr val="FFFFFF"/>
              </a:solidFill>
              <a:prstDash val="solid"/>
              <a:miter lim="400000"/>
            </a:ln>
          </a:insideH>
          <a:insideV>
            <a:ln w="12700" cap="flat">
              <a:solidFill>
                <a:srgbClr val="FFFFFF"/>
              </a:solidFill>
              <a:prstDash val="solid"/>
              <a:miter lim="400000"/>
            </a:ln>
          </a:insideV>
        </a:tcBdr>
        <a:fill>
          <a:solidFill>
            <a:srgbClr val="D0D1D2"/>
          </a:solidFill>
        </a:fill>
      </a:tcStyle>
    </a:wholeTbl>
    <a:band2H>
      <a:tcTxStyle/>
      <a:tcStyle>
        <a:tcBdr/>
        <a:fill>
          <a:solidFill>
            <a:srgbClr val="DEDEDF"/>
          </a:solidFill>
        </a:fill>
      </a:tcStyle>
    </a:band2H>
    <a:firstCol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miter lim="400000"/>
            </a:ln>
          </a:left>
          <a:right>
            <a:ln w="12700" cap="flat">
              <a:solidFill>
                <a:srgbClr val="FFFFFF"/>
              </a:solidFill>
              <a:prstDash val="solid"/>
              <a:miter lim="400000"/>
            </a:ln>
          </a:right>
          <a:top>
            <a:ln w="12700" cap="flat">
              <a:solidFill>
                <a:srgbClr val="FFFFFF"/>
              </a:solidFill>
              <a:prstDash val="solid"/>
              <a:miter lim="400000"/>
            </a:ln>
          </a:top>
          <a:bottom>
            <a:ln w="12700" cap="flat">
              <a:solidFill>
                <a:srgbClr val="FFFFFF"/>
              </a:solidFill>
              <a:prstDash val="solid"/>
              <a:miter lim="400000"/>
            </a:ln>
          </a:bottom>
          <a:insideH>
            <a:ln w="12700" cap="flat">
              <a:solidFill>
                <a:srgbClr val="FFFFFF"/>
              </a:solidFill>
              <a:prstDash val="solid"/>
              <a:miter lim="400000"/>
            </a:ln>
          </a:insideH>
          <a:insideV>
            <a:ln w="12700" cap="flat">
              <a:solidFill>
                <a:srgbClr val="FFFFFF"/>
              </a:solidFill>
              <a:prstDash val="solid"/>
              <a:miter lim="400000"/>
            </a:ln>
          </a:insideV>
        </a:tcBdr>
        <a:fill>
          <a:solidFill>
            <a:srgbClr val="535761"/>
          </a:solidFill>
        </a:fill>
      </a:tcStyle>
    </a:firstCol>
    <a:lastRow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miter lim="400000"/>
            </a:ln>
          </a:left>
          <a:right>
            <a:ln w="12700" cap="flat">
              <a:solidFill>
                <a:srgbClr val="FFFFFF"/>
              </a:solidFill>
              <a:prstDash val="solid"/>
              <a:miter lim="400000"/>
            </a:ln>
          </a:right>
          <a:top>
            <a:ln w="12700" cap="flat">
              <a:solidFill>
                <a:srgbClr val="FFFFFF"/>
              </a:solidFill>
              <a:prstDash val="solid"/>
              <a:miter lim="400000"/>
            </a:ln>
          </a:top>
          <a:bottom>
            <a:ln w="12700" cap="flat">
              <a:solidFill>
                <a:srgbClr val="FFFFFF"/>
              </a:solidFill>
              <a:prstDash val="solid"/>
              <a:miter lim="400000"/>
            </a:ln>
          </a:bottom>
          <a:insideH>
            <a:ln w="12700" cap="flat">
              <a:solidFill>
                <a:srgbClr val="FFFFFF"/>
              </a:solidFill>
              <a:prstDash val="solid"/>
              <a:miter lim="400000"/>
            </a:ln>
          </a:insideH>
          <a:insideV>
            <a:ln w="12700" cap="flat">
              <a:solidFill>
                <a:srgbClr val="FFFFFF"/>
              </a:solidFill>
              <a:prstDash val="solid"/>
              <a:miter lim="400000"/>
            </a:ln>
          </a:insideV>
        </a:tcBdr>
        <a:fill>
          <a:solidFill>
            <a:srgbClr val="909398"/>
          </a:solidFill>
        </a:fill>
      </a:tcStyle>
    </a:lastRow>
    <a:firstRow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miter lim="400000"/>
            </a:ln>
          </a:left>
          <a:right>
            <a:ln w="12700" cap="flat">
              <a:solidFill>
                <a:srgbClr val="FFFFFF"/>
              </a:solidFill>
              <a:prstDash val="solid"/>
              <a:miter lim="400000"/>
            </a:ln>
          </a:right>
          <a:top>
            <a:ln w="12700" cap="flat">
              <a:solidFill>
                <a:srgbClr val="FFFFFF"/>
              </a:solidFill>
              <a:prstDash val="solid"/>
              <a:miter lim="400000"/>
            </a:ln>
          </a:top>
          <a:bottom>
            <a:ln w="12700" cap="flat">
              <a:solidFill>
                <a:srgbClr val="FFFFFF"/>
              </a:solidFill>
              <a:prstDash val="solid"/>
              <a:miter lim="400000"/>
            </a:ln>
          </a:bottom>
          <a:insideH>
            <a:ln w="12700" cap="flat">
              <a:solidFill>
                <a:srgbClr val="FFFFFF"/>
              </a:solidFill>
              <a:prstDash val="solid"/>
              <a:miter lim="400000"/>
            </a:ln>
          </a:insideH>
          <a:insideV>
            <a:ln w="12700" cap="flat">
              <a:solidFill>
                <a:srgbClr val="FFFFFF"/>
              </a:solidFill>
              <a:prstDash val="solid"/>
              <a:miter lim="400000"/>
            </a:ln>
          </a:insideV>
        </a:tcBdr>
        <a:fill>
          <a:solidFill>
            <a:srgbClr val="767C85"/>
          </a:solidFill>
        </a:fill>
      </a:tcStyle>
    </a:firstRow>
  </a:tblStyle>
  <a:tblStyle styleId="{2708684C-4D16-4618-839F-0558EEFCDFE6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left>
          <a:righ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right>
          <a:top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top>
          <a:bottom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bottom>
          <a:insideH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V>
        </a:tcBdr>
        <a:fill>
          <a:noFill/>
        </a:fill>
      </a:tcStyle>
    </a:wholeTbl>
    <a:band2H>
      <a:tcTxStyle/>
      <a:tcStyle>
        <a:tcBdr/>
        <a:fill>
          <a:solidFill>
            <a:srgbClr val="EDEEEE"/>
          </a:solidFill>
        </a:fill>
      </a:tcStyle>
    </a:band2H>
    <a:firstCol>
      <a:tcTxStyle b="on" i="off">
        <a:font>
          <a:latin typeface="Helvetica"/>
          <a:ea typeface="Helvetica"/>
          <a:cs typeface="Helvetica"/>
        </a:font>
        <a:srgbClr val="000000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top>
          <a:bottom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bottom>
          <a:insideH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V>
        </a:tcBdr>
        <a:fill>
          <a:noFill/>
        </a:fill>
      </a:tcStyle>
    </a:firstCol>
    <a:lastRow>
      <a:tcTxStyle b="on" i="off">
        <a:font>
          <a:latin typeface="Helvetica"/>
          <a:ea typeface="Helvetica"/>
          <a:cs typeface="Helvetica"/>
        </a:font>
        <a:srgbClr val="000000"/>
      </a:tcTxStyle>
      <a:tcStyle>
        <a:tcBdr>
          <a:lef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left>
          <a:righ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right>
          <a:top>
            <a:ln w="12700" cap="flat">
              <a:solidFill>
                <a:srgbClr val="000000"/>
              </a:solidFill>
              <a:prstDash val="solid"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V>
        </a:tcBdr>
        <a:fill>
          <a:noFill/>
        </a:fill>
      </a:tcStyle>
    </a:lastRow>
    <a:firstRow>
      <a:tcTxStyle b="on" i="off">
        <a:font>
          <a:latin typeface="Helvetica"/>
          <a:ea typeface="Helvetica"/>
          <a:cs typeface="Helvetica"/>
        </a:font>
        <a:srgbClr val="000000"/>
      </a:tcTxStyle>
      <a:tcStyle>
        <a:tcBdr>
          <a:lef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left>
          <a:righ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V>
        </a:tcBdr>
        <a:fill>
          <a:noFill/>
        </a:fill>
      </a:tcStyle>
    </a:firstRow>
  </a:tblStyle>
  <a:tblStyle styleId="{5940675A-B579-460E-94D1-54222C63F5DA}" styleName="无样式，网格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1160" autoAdjust="0"/>
    <p:restoredTop sz="94660"/>
  </p:normalViewPr>
  <p:slideViewPr>
    <p:cSldViewPr snapToGrid="0">
      <p:cViewPr varScale="1">
        <p:scale>
          <a:sx n="34" d="100"/>
          <a:sy n="34" d="100"/>
        </p:scale>
        <p:origin x="606" y="84"/>
      </p:cViewPr>
      <p:guideLst>
        <p:guide orient="horz" pos="5114"/>
        <p:guide pos="7612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presProps" Target="presProp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tags" Target="tags/tag1.xml"/><Relationship Id="rId17" Type="http://schemas.microsoft.com/office/2015/10/relationships/revisionInfo" Target="revisionInfo.xml"/><Relationship Id="rId2" Type="http://schemas.openxmlformats.org/officeDocument/2006/relationships/slideMaster" Target="slideMasters/slideMaster2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3.xml"/><Relationship Id="rId15" Type="http://schemas.openxmlformats.org/officeDocument/2006/relationships/theme" Target="theme/theme1.xml"/><Relationship Id="rId10" Type="http://schemas.openxmlformats.org/officeDocument/2006/relationships/slide" Target="slides/slide8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Shape 39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</p:spPr>
        <p:txBody>
          <a:bodyPr/>
          <a:lstStyle/>
          <a:p>
            <a:pPr lvl="0"/>
            <a:endParaRPr/>
          </a:p>
        </p:txBody>
      </p:sp>
      <p:sp>
        <p:nvSpPr>
          <p:cNvPr id="40" name="Shape 40"/>
          <p:cNvSpPr>
            <a:spLocks noGrp="1"/>
          </p:cNvSpPr>
          <p:nvPr>
            <p:ph type="body" sz="quarter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/>
          <a:lstStyle/>
          <a:p>
            <a:pPr lvl="0"/>
            <a:endParaRPr/>
          </a:p>
        </p:txBody>
      </p:sp>
    </p:spTree>
    <p:extLst>
      <p:ext uri="{BB962C8B-B14F-4D97-AF65-F5344CB8AC3E}">
        <p14:creationId xmlns:p14="http://schemas.microsoft.com/office/powerpoint/2010/main" val="1556993997"/>
      </p:ext>
    </p:extLst>
  </p:cSld>
  <p:clrMap bg1="lt1" tx1="dk1" bg2="lt2" tx2="dk2" accent1="accent1" accent2="accent2" accent3="accent3" accent4="accent4" accent5="accent5" accent6="accent6" hlink="hlink" folHlink="folHlink"/>
  <p:notesStyle>
    <a:lvl1pPr defTabSz="457200">
      <a:lnSpc>
        <a:spcPct val="125000"/>
      </a:lnSpc>
      <a:defRPr sz="2400">
        <a:latin typeface="Avenir Roman"/>
        <a:ea typeface="Avenir Roman"/>
        <a:cs typeface="Avenir Roman"/>
        <a:sym typeface="Avenir Roman"/>
      </a:defRPr>
    </a:lvl1pPr>
    <a:lvl2pPr indent="228600" defTabSz="457200">
      <a:lnSpc>
        <a:spcPct val="125000"/>
      </a:lnSpc>
      <a:defRPr sz="2400">
        <a:latin typeface="Avenir Roman"/>
        <a:ea typeface="Avenir Roman"/>
        <a:cs typeface="Avenir Roman"/>
        <a:sym typeface="Avenir Roman"/>
      </a:defRPr>
    </a:lvl2pPr>
    <a:lvl3pPr indent="457200" defTabSz="457200">
      <a:lnSpc>
        <a:spcPct val="125000"/>
      </a:lnSpc>
      <a:defRPr sz="2400">
        <a:latin typeface="Avenir Roman"/>
        <a:ea typeface="Avenir Roman"/>
        <a:cs typeface="Avenir Roman"/>
        <a:sym typeface="Avenir Roman"/>
      </a:defRPr>
    </a:lvl3pPr>
    <a:lvl4pPr indent="685800" defTabSz="457200">
      <a:lnSpc>
        <a:spcPct val="125000"/>
      </a:lnSpc>
      <a:defRPr sz="2400">
        <a:latin typeface="Avenir Roman"/>
        <a:ea typeface="Avenir Roman"/>
        <a:cs typeface="Avenir Roman"/>
        <a:sym typeface="Avenir Roman"/>
      </a:defRPr>
    </a:lvl4pPr>
    <a:lvl5pPr indent="914400" defTabSz="457200">
      <a:lnSpc>
        <a:spcPct val="125000"/>
      </a:lnSpc>
      <a:defRPr sz="2400">
        <a:latin typeface="Avenir Roman"/>
        <a:ea typeface="Avenir Roman"/>
        <a:cs typeface="Avenir Roman"/>
        <a:sym typeface="Avenir Roman"/>
      </a:defRPr>
    </a:lvl5pPr>
    <a:lvl6pPr indent="1143000" defTabSz="457200">
      <a:lnSpc>
        <a:spcPct val="125000"/>
      </a:lnSpc>
      <a:defRPr sz="2400">
        <a:latin typeface="Avenir Roman"/>
        <a:ea typeface="Avenir Roman"/>
        <a:cs typeface="Avenir Roman"/>
        <a:sym typeface="Avenir Roman"/>
      </a:defRPr>
    </a:lvl6pPr>
    <a:lvl7pPr indent="1371600" defTabSz="457200">
      <a:lnSpc>
        <a:spcPct val="125000"/>
      </a:lnSpc>
      <a:defRPr sz="2400">
        <a:latin typeface="Avenir Roman"/>
        <a:ea typeface="Avenir Roman"/>
        <a:cs typeface="Avenir Roman"/>
        <a:sym typeface="Avenir Roman"/>
      </a:defRPr>
    </a:lvl7pPr>
    <a:lvl8pPr indent="1600200" defTabSz="457200">
      <a:lnSpc>
        <a:spcPct val="125000"/>
      </a:lnSpc>
      <a:defRPr sz="2400">
        <a:latin typeface="Avenir Roman"/>
        <a:ea typeface="Avenir Roman"/>
        <a:cs typeface="Avenir Roman"/>
        <a:sym typeface="Avenir Roman"/>
      </a:defRPr>
    </a:lvl8pPr>
    <a:lvl9pPr indent="1828800" defTabSz="457200">
      <a:lnSpc>
        <a:spcPct val="125000"/>
      </a:lnSpc>
      <a:defRPr sz="2400">
        <a:latin typeface="Avenir Roman"/>
        <a:ea typeface="Avenir Roman"/>
        <a:cs typeface="Avenir Roman"/>
        <a:sym typeface="Avenir Roman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29284661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3371473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tags" Target="../tags/tag3.xml"/><Relationship Id="rId7" Type="http://schemas.openxmlformats.org/officeDocument/2006/relationships/oleObject" Target="../embeddings/oleObject1.bin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5.xml"/><Relationship Id="rId4" Type="http://schemas.openxmlformats.org/officeDocument/2006/relationships/tags" Target="../tags/tag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hape 5"/>
          <p:cNvSpPr>
            <a:spLocks noGrp="1"/>
          </p:cNvSpPr>
          <p:nvPr>
            <p:ph type="title"/>
          </p:nvPr>
        </p:nvSpPr>
        <p:spPr>
          <a:xfrm>
            <a:off x="1778000" y="2298700"/>
            <a:ext cx="20828000" cy="4648200"/>
          </a:xfrm>
          <a:prstGeom prst="rect">
            <a:avLst/>
          </a:prstGeom>
        </p:spPr>
        <p:txBody>
          <a:bodyPr anchor="b"/>
          <a:lstStyle/>
          <a:p>
            <a:pPr lvl="0">
              <a:defRPr sz="1800"/>
            </a:pPr>
            <a:r>
              <a:rPr sz="11200"/>
              <a:t>Title Text</a:t>
            </a:r>
          </a:p>
        </p:txBody>
      </p:sp>
      <p:sp>
        <p:nvSpPr>
          <p:cNvPr id="6" name="Shape 6"/>
          <p:cNvSpPr>
            <a:spLocks noGrp="1"/>
          </p:cNvSpPr>
          <p:nvPr>
            <p:ph type="body" idx="1"/>
          </p:nvPr>
        </p:nvSpPr>
        <p:spPr>
          <a:xfrm>
            <a:off x="1778000" y="7073900"/>
            <a:ext cx="20828000" cy="1587500"/>
          </a:xfrm>
          <a:prstGeom prst="rect">
            <a:avLst/>
          </a:prstGeom>
        </p:spPr>
        <p:txBody>
          <a:bodyPr anchor="t"/>
          <a:lstStyle>
            <a:lvl1pPr marL="0" indent="0" algn="ctr">
              <a:spcBef>
                <a:spcPts val="0"/>
              </a:spcBef>
              <a:buSzTx/>
              <a:buNone/>
              <a:defRPr sz="4400"/>
            </a:lvl1pPr>
            <a:lvl2pPr marL="0" indent="228600" algn="ctr">
              <a:spcBef>
                <a:spcPts val="0"/>
              </a:spcBef>
              <a:buSzTx/>
              <a:buNone/>
              <a:defRPr sz="4400"/>
            </a:lvl2pPr>
            <a:lvl3pPr marL="0" indent="457200" algn="ctr">
              <a:spcBef>
                <a:spcPts val="0"/>
              </a:spcBef>
              <a:buSzTx/>
              <a:buNone/>
              <a:defRPr sz="4400"/>
            </a:lvl3pPr>
            <a:lvl4pPr marL="0" indent="685800" algn="ctr">
              <a:spcBef>
                <a:spcPts val="0"/>
              </a:spcBef>
              <a:buSzTx/>
              <a:buNone/>
              <a:defRPr sz="4400"/>
            </a:lvl4pPr>
            <a:lvl5pPr marL="0" indent="914400" algn="ctr">
              <a:spcBef>
                <a:spcPts val="0"/>
              </a:spcBef>
              <a:buSzTx/>
              <a:buNone/>
              <a:defRPr sz="4400"/>
            </a:lvl5pPr>
          </a:lstStyle>
          <a:p>
            <a:pPr lvl="0">
              <a:defRPr sz="1800"/>
            </a:pPr>
            <a:r>
              <a:rPr sz="4400"/>
              <a:t>Body Level One</a:t>
            </a:r>
          </a:p>
          <a:p>
            <a:pPr lvl="1">
              <a:defRPr sz="1800"/>
            </a:pPr>
            <a:r>
              <a:rPr sz="4400"/>
              <a:t>Body Level Two</a:t>
            </a:r>
          </a:p>
          <a:p>
            <a:pPr lvl="2">
              <a:defRPr sz="1800"/>
            </a:pPr>
            <a:r>
              <a:rPr sz="4400"/>
              <a:t>Body Level Three</a:t>
            </a:r>
          </a:p>
          <a:p>
            <a:pPr lvl="3">
              <a:defRPr sz="1800"/>
            </a:pPr>
            <a:r>
              <a:rPr sz="4400"/>
              <a:t>Body Level Four</a:t>
            </a:r>
          </a:p>
          <a:p>
            <a:pPr lvl="4">
              <a:defRPr sz="1800"/>
            </a:pPr>
            <a:r>
              <a:rPr sz="4400"/>
              <a:t>Body Level Five</a:t>
            </a:r>
          </a:p>
        </p:txBody>
      </p:sp>
    </p:spTree>
  </p:cSld>
  <p:clrMapOvr>
    <a:masterClrMapping/>
  </p:clrMapOvr>
  <p:transition spd="med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Photo - 3 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ransition spd="med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ransition spd="med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ransition spd="med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ransition spd="med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itle Tile"/>
          <p:cNvSpPr/>
          <p:nvPr userDrawn="1"/>
        </p:nvSpPr>
        <p:spPr bwMode="auto">
          <a:xfrm>
            <a:off x="8022143" y="6374275"/>
            <a:ext cx="14329334" cy="5646278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182792" tIns="91398" rIns="182792" bIns="91398" numCol="1" rtlCol="0" anchor="ctr" anchorCtr="0" compatLnSpc="1">
            <a:prstTxWarp prst="textNoShape">
              <a:avLst/>
            </a:prstTxWarp>
          </a:bodyPr>
          <a:lstStyle/>
          <a:p>
            <a:pPr algn="ctr" defTabSz="1827392"/>
            <a:endParaRPr lang="en-US" sz="4534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6" name="Arrow Bar"/>
          <p:cNvSpPr/>
          <p:nvPr userDrawn="1"/>
        </p:nvSpPr>
        <p:spPr bwMode="auto">
          <a:xfrm>
            <a:off x="8022143" y="3028950"/>
            <a:ext cx="14329334" cy="2999232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182792" tIns="91398" rIns="182792" bIns="91398" numCol="1" rtlCol="0" anchor="ctr" anchorCtr="0" compatLnSpc="1">
            <a:prstTxWarp prst="textNoShape">
              <a:avLst/>
            </a:prstTxWarp>
          </a:bodyPr>
          <a:lstStyle/>
          <a:p>
            <a:pPr algn="ctr" defTabSz="1827392"/>
            <a:endParaRPr lang="en-US" sz="4534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ea typeface="Segoe UI" pitchFamily="34" charset="0"/>
              <a:cs typeface="Segoe UI" pitchFamily="34" charset="0"/>
            </a:endParaRPr>
          </a:p>
        </p:txBody>
      </p:sp>
      <p:sp useBgFill="1">
        <p:nvSpPr>
          <p:cNvPr id="27" name="Left Mask"/>
          <p:cNvSpPr/>
          <p:nvPr userDrawn="1"/>
        </p:nvSpPr>
        <p:spPr bwMode="auto">
          <a:xfrm>
            <a:off x="-1" y="3028952"/>
            <a:ext cx="8022142" cy="2999232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792" tIns="91398" rIns="182792" bIns="9139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827392"/>
            <a:endParaRPr lang="en-US" sz="4534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8" name="Circle Arrow"/>
          <p:cNvSpPr>
            <a:spLocks noEditPoints="1"/>
          </p:cNvSpPr>
          <p:nvPr userDrawn="1"/>
        </p:nvSpPr>
        <p:spPr bwMode="auto">
          <a:xfrm rot="5400000">
            <a:off x="19901879" y="3745895"/>
            <a:ext cx="1682750" cy="1683190"/>
          </a:xfrm>
          <a:custGeom>
            <a:avLst/>
            <a:gdLst>
              <a:gd name="T0" fmla="*/ 112 w 224"/>
              <a:gd name="T1" fmla="*/ 0 h 224"/>
              <a:gd name="T2" fmla="*/ 0 w 224"/>
              <a:gd name="T3" fmla="*/ 112 h 224"/>
              <a:gd name="T4" fmla="*/ 112 w 224"/>
              <a:gd name="T5" fmla="*/ 224 h 224"/>
              <a:gd name="T6" fmla="*/ 224 w 224"/>
              <a:gd name="T7" fmla="*/ 112 h 224"/>
              <a:gd name="T8" fmla="*/ 112 w 224"/>
              <a:gd name="T9" fmla="*/ 0 h 224"/>
              <a:gd name="T10" fmla="*/ 112 w 224"/>
              <a:gd name="T11" fmla="*/ 216 h 224"/>
              <a:gd name="T12" fmla="*/ 8 w 224"/>
              <a:gd name="T13" fmla="*/ 112 h 224"/>
              <a:gd name="T14" fmla="*/ 112 w 224"/>
              <a:gd name="T15" fmla="*/ 8 h 224"/>
              <a:gd name="T16" fmla="*/ 216 w 224"/>
              <a:gd name="T17" fmla="*/ 112 h 224"/>
              <a:gd name="T18" fmla="*/ 112 w 224"/>
              <a:gd name="T19" fmla="*/ 216 h 224"/>
              <a:gd name="T20" fmla="*/ 161 w 224"/>
              <a:gd name="T21" fmla="*/ 94 h 224"/>
              <a:gd name="T22" fmla="*/ 169 w 224"/>
              <a:gd name="T23" fmla="*/ 94 h 224"/>
              <a:gd name="T24" fmla="*/ 169 w 224"/>
              <a:gd name="T25" fmla="*/ 166 h 224"/>
              <a:gd name="T26" fmla="*/ 165 w 224"/>
              <a:gd name="T27" fmla="*/ 170 h 224"/>
              <a:gd name="T28" fmla="*/ 93 w 224"/>
              <a:gd name="T29" fmla="*/ 170 h 224"/>
              <a:gd name="T30" fmla="*/ 93 w 224"/>
              <a:gd name="T31" fmla="*/ 162 h 224"/>
              <a:gd name="T32" fmla="*/ 156 w 224"/>
              <a:gd name="T33" fmla="*/ 162 h 224"/>
              <a:gd name="T34" fmla="*/ 58 w 224"/>
              <a:gd name="T35" fmla="*/ 65 h 224"/>
              <a:gd name="T36" fmla="*/ 64 w 224"/>
              <a:gd name="T37" fmla="*/ 59 h 224"/>
              <a:gd name="T38" fmla="*/ 161 w 224"/>
              <a:gd name="T39" fmla="*/ 156 h 224"/>
              <a:gd name="T40" fmla="*/ 161 w 224"/>
              <a:gd name="T41" fmla="*/ 94 h 2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224" h="224">
                <a:moveTo>
                  <a:pt x="112" y="0"/>
                </a:moveTo>
                <a:cubicBezTo>
                  <a:pt x="50" y="0"/>
                  <a:pt x="0" y="50"/>
                  <a:pt x="0" y="112"/>
                </a:cubicBezTo>
                <a:cubicBezTo>
                  <a:pt x="0" y="174"/>
                  <a:pt x="50" y="224"/>
                  <a:pt x="112" y="224"/>
                </a:cubicBezTo>
                <a:cubicBezTo>
                  <a:pt x="173" y="224"/>
                  <a:pt x="224" y="174"/>
                  <a:pt x="224" y="112"/>
                </a:cubicBezTo>
                <a:cubicBezTo>
                  <a:pt x="224" y="50"/>
                  <a:pt x="173" y="0"/>
                  <a:pt x="112" y="0"/>
                </a:cubicBezTo>
                <a:close/>
                <a:moveTo>
                  <a:pt x="112" y="216"/>
                </a:moveTo>
                <a:cubicBezTo>
                  <a:pt x="54" y="216"/>
                  <a:pt x="8" y="169"/>
                  <a:pt x="8" y="112"/>
                </a:cubicBezTo>
                <a:cubicBezTo>
                  <a:pt x="8" y="54"/>
                  <a:pt x="54" y="8"/>
                  <a:pt x="112" y="8"/>
                </a:cubicBezTo>
                <a:cubicBezTo>
                  <a:pt x="169" y="8"/>
                  <a:pt x="216" y="54"/>
                  <a:pt x="216" y="112"/>
                </a:cubicBezTo>
                <a:cubicBezTo>
                  <a:pt x="216" y="169"/>
                  <a:pt x="169" y="216"/>
                  <a:pt x="112" y="216"/>
                </a:cubicBezTo>
                <a:close/>
                <a:moveTo>
                  <a:pt x="161" y="94"/>
                </a:moveTo>
                <a:cubicBezTo>
                  <a:pt x="169" y="94"/>
                  <a:pt x="169" y="94"/>
                  <a:pt x="169" y="94"/>
                </a:cubicBezTo>
                <a:cubicBezTo>
                  <a:pt x="169" y="166"/>
                  <a:pt x="169" y="166"/>
                  <a:pt x="169" y="166"/>
                </a:cubicBezTo>
                <a:cubicBezTo>
                  <a:pt x="169" y="168"/>
                  <a:pt x="168" y="170"/>
                  <a:pt x="165" y="170"/>
                </a:cubicBezTo>
                <a:cubicBezTo>
                  <a:pt x="93" y="170"/>
                  <a:pt x="93" y="170"/>
                  <a:pt x="93" y="170"/>
                </a:cubicBezTo>
                <a:cubicBezTo>
                  <a:pt x="93" y="162"/>
                  <a:pt x="93" y="162"/>
                  <a:pt x="93" y="162"/>
                </a:cubicBezTo>
                <a:cubicBezTo>
                  <a:pt x="156" y="162"/>
                  <a:pt x="156" y="162"/>
                  <a:pt x="156" y="162"/>
                </a:cubicBezTo>
                <a:cubicBezTo>
                  <a:pt x="58" y="65"/>
                  <a:pt x="58" y="65"/>
                  <a:pt x="58" y="65"/>
                </a:cubicBezTo>
                <a:cubicBezTo>
                  <a:pt x="64" y="59"/>
                  <a:pt x="64" y="59"/>
                  <a:pt x="64" y="59"/>
                </a:cubicBezTo>
                <a:cubicBezTo>
                  <a:pt x="161" y="156"/>
                  <a:pt x="161" y="156"/>
                  <a:pt x="161" y="156"/>
                </a:cubicBezTo>
                <a:lnTo>
                  <a:pt x="161" y="94"/>
                </a:lnTo>
                <a:close/>
              </a:path>
            </a:pathLst>
          </a:cu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txBody>
          <a:bodyPr vert="horz" wrap="square" lIns="182800" tIns="91402" rIns="182800" bIns="91402" numCol="1" anchor="t" anchorCtr="0" compatLnSpc="1">
            <a:prstTxWarp prst="textNoShape">
              <a:avLst/>
            </a:prstTxWarp>
          </a:bodyPr>
          <a:lstStyle/>
          <a:p>
            <a:pPr defTabSz="1827920"/>
            <a:endParaRPr lang="en-US" sz="3734" dirty="0">
              <a:solidFill>
                <a:srgbClr val="FFFFFF"/>
              </a:solidFill>
            </a:endParaRPr>
          </a:p>
        </p:txBody>
      </p:sp>
      <p:sp>
        <p:nvSpPr>
          <p:cNvPr id="29" name="TechEd Tile"/>
          <p:cNvSpPr/>
          <p:nvPr userDrawn="1"/>
        </p:nvSpPr>
        <p:spPr bwMode="auto">
          <a:xfrm>
            <a:off x="2044678" y="3028950"/>
            <a:ext cx="5652464" cy="2999232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182792" tIns="91398" rIns="182792" bIns="91398" numCol="1" rtlCol="0" anchor="ctr" anchorCtr="0" compatLnSpc="1">
            <a:prstTxWarp prst="textNoShape">
              <a:avLst/>
            </a:prstTxWarp>
          </a:bodyPr>
          <a:lstStyle/>
          <a:p>
            <a:pPr algn="ctr" defTabSz="1827392"/>
            <a:endParaRPr lang="en-US" sz="4534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30" name="TechEd Logo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530"/>
          <a:stretch/>
        </p:blipFill>
        <p:spPr bwMode="auto">
          <a:xfrm>
            <a:off x="2803366" y="3484990"/>
            <a:ext cx="4135088" cy="20871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1" name="Fuschia Tile"/>
          <p:cNvGrpSpPr/>
          <p:nvPr userDrawn="1"/>
        </p:nvGrpSpPr>
        <p:grpSpPr>
          <a:xfrm>
            <a:off x="2033549" y="6370534"/>
            <a:ext cx="2652450" cy="2651760"/>
            <a:chOff x="1071620" y="3044261"/>
            <a:chExt cx="1325880" cy="1325880"/>
          </a:xfrm>
        </p:grpSpPr>
        <p:sp>
          <p:nvSpPr>
            <p:cNvPr id="32" name="Rectangle 31"/>
            <p:cNvSpPr/>
            <p:nvPr/>
          </p:nvSpPr>
          <p:spPr bwMode="auto">
            <a:xfrm>
              <a:off x="1071620" y="3044261"/>
              <a:ext cx="1325880" cy="1325880"/>
            </a:xfrm>
            <a:prstGeom prst="rect">
              <a:avLst/>
            </a:prstGeom>
            <a:solidFill>
              <a:schemeClr val="accent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vert="horz" wrap="square" lIns="91436" tIns="45718" rIns="91436" bIns="45718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1827392"/>
              <a:endParaRPr lang="en-US" sz="4534" dirty="0">
                <a:solidFill>
                  <a:srgbClr val="FFFFFF">
                    <a:lumMod val="20000"/>
                    <a:lumOff val="80000"/>
                    <a:alpha val="99000"/>
                  </a:srgbClr>
                </a:soli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33" name="Freeform 13"/>
            <p:cNvSpPr>
              <a:spLocks noEditPoints="1"/>
            </p:cNvSpPr>
            <p:nvPr/>
          </p:nvSpPr>
          <p:spPr bwMode="auto">
            <a:xfrm>
              <a:off x="1316254" y="3284926"/>
              <a:ext cx="836612" cy="841375"/>
            </a:xfrm>
            <a:custGeom>
              <a:avLst/>
              <a:gdLst>
                <a:gd name="T0" fmla="*/ 183 w 223"/>
                <a:gd name="T1" fmla="*/ 108 h 224"/>
                <a:gd name="T2" fmla="*/ 154 w 223"/>
                <a:gd name="T3" fmla="*/ 120 h 224"/>
                <a:gd name="T4" fmla="*/ 135 w 223"/>
                <a:gd name="T5" fmla="*/ 101 h 224"/>
                <a:gd name="T6" fmla="*/ 154 w 223"/>
                <a:gd name="T7" fmla="*/ 59 h 224"/>
                <a:gd name="T8" fmla="*/ 96 w 223"/>
                <a:gd name="T9" fmla="*/ 0 h 224"/>
                <a:gd name="T10" fmla="*/ 37 w 223"/>
                <a:gd name="T11" fmla="*/ 59 h 224"/>
                <a:gd name="T12" fmla="*/ 64 w 223"/>
                <a:gd name="T13" fmla="*/ 107 h 224"/>
                <a:gd name="T14" fmla="*/ 52 w 223"/>
                <a:gd name="T15" fmla="*/ 145 h 224"/>
                <a:gd name="T16" fmla="*/ 41 w 223"/>
                <a:gd name="T17" fmla="*/ 143 h 224"/>
                <a:gd name="T18" fmla="*/ 0 w 223"/>
                <a:gd name="T19" fmla="*/ 183 h 224"/>
                <a:gd name="T20" fmla="*/ 41 w 223"/>
                <a:gd name="T21" fmla="*/ 224 h 224"/>
                <a:gd name="T22" fmla="*/ 81 w 223"/>
                <a:gd name="T23" fmla="*/ 183 h 224"/>
                <a:gd name="T24" fmla="*/ 60 w 223"/>
                <a:gd name="T25" fmla="*/ 148 h 224"/>
                <a:gd name="T26" fmla="*/ 71 w 223"/>
                <a:gd name="T27" fmla="*/ 111 h 224"/>
                <a:gd name="T28" fmla="*/ 96 w 223"/>
                <a:gd name="T29" fmla="*/ 117 h 224"/>
                <a:gd name="T30" fmla="*/ 129 w 223"/>
                <a:gd name="T31" fmla="*/ 106 h 224"/>
                <a:gd name="T32" fmla="*/ 149 w 223"/>
                <a:gd name="T33" fmla="*/ 126 h 224"/>
                <a:gd name="T34" fmla="*/ 143 w 223"/>
                <a:gd name="T35" fmla="*/ 148 h 224"/>
                <a:gd name="T36" fmla="*/ 183 w 223"/>
                <a:gd name="T37" fmla="*/ 189 h 224"/>
                <a:gd name="T38" fmla="*/ 223 w 223"/>
                <a:gd name="T39" fmla="*/ 148 h 224"/>
                <a:gd name="T40" fmla="*/ 183 w 223"/>
                <a:gd name="T41" fmla="*/ 108 h 224"/>
                <a:gd name="T42" fmla="*/ 73 w 223"/>
                <a:gd name="T43" fmla="*/ 183 h 224"/>
                <a:gd name="T44" fmla="*/ 41 w 223"/>
                <a:gd name="T45" fmla="*/ 216 h 224"/>
                <a:gd name="T46" fmla="*/ 8 w 223"/>
                <a:gd name="T47" fmla="*/ 183 h 224"/>
                <a:gd name="T48" fmla="*/ 41 w 223"/>
                <a:gd name="T49" fmla="*/ 151 h 224"/>
                <a:gd name="T50" fmla="*/ 73 w 223"/>
                <a:gd name="T51" fmla="*/ 183 h 224"/>
                <a:gd name="T52" fmla="*/ 45 w 223"/>
                <a:gd name="T53" fmla="*/ 59 h 224"/>
                <a:gd name="T54" fmla="*/ 96 w 223"/>
                <a:gd name="T55" fmla="*/ 8 h 224"/>
                <a:gd name="T56" fmla="*/ 146 w 223"/>
                <a:gd name="T57" fmla="*/ 59 h 224"/>
                <a:gd name="T58" fmla="*/ 96 w 223"/>
                <a:gd name="T59" fmla="*/ 109 h 224"/>
                <a:gd name="T60" fmla="*/ 45 w 223"/>
                <a:gd name="T61" fmla="*/ 59 h 224"/>
                <a:gd name="T62" fmla="*/ 183 w 223"/>
                <a:gd name="T63" fmla="*/ 181 h 224"/>
                <a:gd name="T64" fmla="*/ 151 w 223"/>
                <a:gd name="T65" fmla="*/ 148 h 224"/>
                <a:gd name="T66" fmla="*/ 183 w 223"/>
                <a:gd name="T67" fmla="*/ 116 h 224"/>
                <a:gd name="T68" fmla="*/ 215 w 223"/>
                <a:gd name="T69" fmla="*/ 148 h 224"/>
                <a:gd name="T70" fmla="*/ 183 w 223"/>
                <a:gd name="T71" fmla="*/ 181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23" h="224">
                  <a:moveTo>
                    <a:pt x="183" y="108"/>
                  </a:moveTo>
                  <a:cubicBezTo>
                    <a:pt x="172" y="108"/>
                    <a:pt x="162" y="113"/>
                    <a:pt x="154" y="120"/>
                  </a:cubicBezTo>
                  <a:cubicBezTo>
                    <a:pt x="135" y="101"/>
                    <a:pt x="135" y="101"/>
                    <a:pt x="135" y="101"/>
                  </a:cubicBezTo>
                  <a:cubicBezTo>
                    <a:pt x="147" y="90"/>
                    <a:pt x="154" y="75"/>
                    <a:pt x="154" y="59"/>
                  </a:cubicBezTo>
                  <a:cubicBezTo>
                    <a:pt x="154" y="26"/>
                    <a:pt x="128" y="0"/>
                    <a:pt x="96" y="0"/>
                  </a:cubicBezTo>
                  <a:cubicBezTo>
                    <a:pt x="64" y="0"/>
                    <a:pt x="37" y="26"/>
                    <a:pt x="37" y="59"/>
                  </a:cubicBezTo>
                  <a:cubicBezTo>
                    <a:pt x="37" y="79"/>
                    <a:pt x="48" y="97"/>
                    <a:pt x="64" y="107"/>
                  </a:cubicBezTo>
                  <a:cubicBezTo>
                    <a:pt x="52" y="145"/>
                    <a:pt x="52" y="145"/>
                    <a:pt x="52" y="145"/>
                  </a:cubicBezTo>
                  <a:cubicBezTo>
                    <a:pt x="49" y="144"/>
                    <a:pt x="45" y="143"/>
                    <a:pt x="41" y="143"/>
                  </a:cubicBezTo>
                  <a:cubicBezTo>
                    <a:pt x="18" y="143"/>
                    <a:pt x="0" y="161"/>
                    <a:pt x="0" y="183"/>
                  </a:cubicBezTo>
                  <a:cubicBezTo>
                    <a:pt x="0" y="206"/>
                    <a:pt x="18" y="224"/>
                    <a:pt x="41" y="224"/>
                  </a:cubicBezTo>
                  <a:cubicBezTo>
                    <a:pt x="63" y="224"/>
                    <a:pt x="81" y="206"/>
                    <a:pt x="81" y="183"/>
                  </a:cubicBezTo>
                  <a:cubicBezTo>
                    <a:pt x="81" y="168"/>
                    <a:pt x="72" y="155"/>
                    <a:pt x="60" y="148"/>
                  </a:cubicBezTo>
                  <a:cubicBezTo>
                    <a:pt x="71" y="111"/>
                    <a:pt x="71" y="111"/>
                    <a:pt x="71" y="111"/>
                  </a:cubicBezTo>
                  <a:cubicBezTo>
                    <a:pt x="78" y="115"/>
                    <a:pt x="87" y="117"/>
                    <a:pt x="96" y="117"/>
                  </a:cubicBezTo>
                  <a:cubicBezTo>
                    <a:pt x="108" y="117"/>
                    <a:pt x="120" y="113"/>
                    <a:pt x="129" y="106"/>
                  </a:cubicBezTo>
                  <a:cubicBezTo>
                    <a:pt x="149" y="126"/>
                    <a:pt x="149" y="126"/>
                    <a:pt x="149" y="126"/>
                  </a:cubicBezTo>
                  <a:cubicBezTo>
                    <a:pt x="145" y="133"/>
                    <a:pt x="143" y="140"/>
                    <a:pt x="143" y="148"/>
                  </a:cubicBezTo>
                  <a:cubicBezTo>
                    <a:pt x="143" y="171"/>
                    <a:pt x="161" y="189"/>
                    <a:pt x="183" y="189"/>
                  </a:cubicBezTo>
                  <a:cubicBezTo>
                    <a:pt x="205" y="189"/>
                    <a:pt x="223" y="171"/>
                    <a:pt x="223" y="148"/>
                  </a:cubicBezTo>
                  <a:cubicBezTo>
                    <a:pt x="223" y="126"/>
                    <a:pt x="205" y="108"/>
                    <a:pt x="183" y="108"/>
                  </a:cubicBezTo>
                  <a:close/>
                  <a:moveTo>
                    <a:pt x="73" y="183"/>
                  </a:moveTo>
                  <a:cubicBezTo>
                    <a:pt x="73" y="201"/>
                    <a:pt x="58" y="216"/>
                    <a:pt x="41" y="216"/>
                  </a:cubicBezTo>
                  <a:cubicBezTo>
                    <a:pt x="23" y="216"/>
                    <a:pt x="8" y="201"/>
                    <a:pt x="8" y="183"/>
                  </a:cubicBezTo>
                  <a:cubicBezTo>
                    <a:pt x="8" y="166"/>
                    <a:pt x="23" y="151"/>
                    <a:pt x="41" y="151"/>
                  </a:cubicBezTo>
                  <a:cubicBezTo>
                    <a:pt x="58" y="151"/>
                    <a:pt x="73" y="166"/>
                    <a:pt x="73" y="183"/>
                  </a:cubicBezTo>
                  <a:close/>
                  <a:moveTo>
                    <a:pt x="45" y="59"/>
                  </a:moveTo>
                  <a:cubicBezTo>
                    <a:pt x="45" y="31"/>
                    <a:pt x="68" y="8"/>
                    <a:pt x="96" y="8"/>
                  </a:cubicBezTo>
                  <a:cubicBezTo>
                    <a:pt x="123" y="8"/>
                    <a:pt x="146" y="31"/>
                    <a:pt x="146" y="59"/>
                  </a:cubicBezTo>
                  <a:cubicBezTo>
                    <a:pt x="146" y="86"/>
                    <a:pt x="123" y="109"/>
                    <a:pt x="96" y="109"/>
                  </a:cubicBezTo>
                  <a:cubicBezTo>
                    <a:pt x="68" y="109"/>
                    <a:pt x="45" y="86"/>
                    <a:pt x="45" y="59"/>
                  </a:cubicBezTo>
                  <a:close/>
                  <a:moveTo>
                    <a:pt x="183" y="181"/>
                  </a:moveTo>
                  <a:cubicBezTo>
                    <a:pt x="165" y="181"/>
                    <a:pt x="151" y="166"/>
                    <a:pt x="151" y="148"/>
                  </a:cubicBezTo>
                  <a:cubicBezTo>
                    <a:pt x="151" y="130"/>
                    <a:pt x="165" y="116"/>
                    <a:pt x="183" y="116"/>
                  </a:cubicBezTo>
                  <a:cubicBezTo>
                    <a:pt x="201" y="116"/>
                    <a:pt x="215" y="130"/>
                    <a:pt x="215" y="148"/>
                  </a:cubicBezTo>
                  <a:cubicBezTo>
                    <a:pt x="215" y="166"/>
                    <a:pt x="201" y="181"/>
                    <a:pt x="183" y="18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827920"/>
              <a:endParaRPr lang="en-US" sz="3734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34" name="Orange Tile"/>
          <p:cNvGrpSpPr/>
          <p:nvPr userDrawn="1"/>
        </p:nvGrpSpPr>
        <p:grpSpPr>
          <a:xfrm>
            <a:off x="5029453" y="6370534"/>
            <a:ext cx="2652450" cy="2651760"/>
            <a:chOff x="2487267" y="3044261"/>
            <a:chExt cx="1325880" cy="1325880"/>
          </a:xfrm>
        </p:grpSpPr>
        <p:sp>
          <p:nvSpPr>
            <p:cNvPr id="35" name="Rectangle 34"/>
            <p:cNvSpPr/>
            <p:nvPr/>
          </p:nvSpPr>
          <p:spPr bwMode="auto">
            <a:xfrm>
              <a:off x="2487267" y="3044261"/>
              <a:ext cx="1325880" cy="1325880"/>
            </a:xfrm>
            <a:prstGeom prst="rect">
              <a:avLst/>
            </a:prstGeom>
            <a:solidFill>
              <a:schemeClr val="accent3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vert="horz" wrap="square" lIns="91436" tIns="45718" rIns="91436" bIns="45718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1827392"/>
              <a:endParaRPr lang="en-US" sz="4534" dirty="0">
                <a:solidFill>
                  <a:srgbClr val="FFFFFF">
                    <a:lumMod val="20000"/>
                    <a:lumOff val="80000"/>
                    <a:alpha val="99000"/>
                  </a:srgbClr>
                </a:soli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36" name="Freeform 30"/>
            <p:cNvSpPr>
              <a:spLocks noEditPoints="1"/>
            </p:cNvSpPr>
            <p:nvPr/>
          </p:nvSpPr>
          <p:spPr bwMode="auto">
            <a:xfrm>
              <a:off x="2774763" y="3284926"/>
              <a:ext cx="750888" cy="844550"/>
            </a:xfrm>
            <a:custGeom>
              <a:avLst/>
              <a:gdLst>
                <a:gd name="T0" fmla="*/ 15 w 200"/>
                <a:gd name="T1" fmla="*/ 0 h 225"/>
                <a:gd name="T2" fmla="*/ 11 w 200"/>
                <a:gd name="T3" fmla="*/ 17 h 225"/>
                <a:gd name="T4" fmla="*/ 11 w 200"/>
                <a:gd name="T5" fmla="*/ 35 h 225"/>
                <a:gd name="T6" fmla="*/ 0 w 200"/>
                <a:gd name="T7" fmla="*/ 55 h 225"/>
                <a:gd name="T8" fmla="*/ 11 w 200"/>
                <a:gd name="T9" fmla="*/ 75 h 225"/>
                <a:gd name="T10" fmla="*/ 11 w 200"/>
                <a:gd name="T11" fmla="*/ 94 h 225"/>
                <a:gd name="T12" fmla="*/ 0 w 200"/>
                <a:gd name="T13" fmla="*/ 114 h 225"/>
                <a:gd name="T14" fmla="*/ 11 w 200"/>
                <a:gd name="T15" fmla="*/ 134 h 225"/>
                <a:gd name="T16" fmla="*/ 11 w 200"/>
                <a:gd name="T17" fmla="*/ 153 h 225"/>
                <a:gd name="T18" fmla="*/ 0 w 200"/>
                <a:gd name="T19" fmla="*/ 173 h 225"/>
                <a:gd name="T20" fmla="*/ 11 w 200"/>
                <a:gd name="T21" fmla="*/ 193 h 225"/>
                <a:gd name="T22" fmla="*/ 11 w 200"/>
                <a:gd name="T23" fmla="*/ 211 h 225"/>
                <a:gd name="T24" fmla="*/ 15 w 200"/>
                <a:gd name="T25" fmla="*/ 225 h 225"/>
                <a:gd name="T26" fmla="*/ 200 w 200"/>
                <a:gd name="T27" fmla="*/ 185 h 225"/>
                <a:gd name="T28" fmla="*/ 160 w 200"/>
                <a:gd name="T29" fmla="*/ 0 h 225"/>
                <a:gd name="T30" fmla="*/ 11 w 200"/>
                <a:gd name="T31" fmla="*/ 25 h 225"/>
                <a:gd name="T32" fmla="*/ 8 w 200"/>
                <a:gd name="T33" fmla="*/ 26 h 225"/>
                <a:gd name="T34" fmla="*/ 11 w 200"/>
                <a:gd name="T35" fmla="*/ 54 h 225"/>
                <a:gd name="T36" fmla="*/ 8 w 200"/>
                <a:gd name="T37" fmla="*/ 55 h 225"/>
                <a:gd name="T38" fmla="*/ 11 w 200"/>
                <a:gd name="T39" fmla="*/ 83 h 225"/>
                <a:gd name="T40" fmla="*/ 8 w 200"/>
                <a:gd name="T41" fmla="*/ 85 h 225"/>
                <a:gd name="T42" fmla="*/ 11 w 200"/>
                <a:gd name="T43" fmla="*/ 113 h 225"/>
                <a:gd name="T44" fmla="*/ 8 w 200"/>
                <a:gd name="T45" fmla="*/ 114 h 225"/>
                <a:gd name="T46" fmla="*/ 11 w 200"/>
                <a:gd name="T47" fmla="*/ 142 h 225"/>
                <a:gd name="T48" fmla="*/ 8 w 200"/>
                <a:gd name="T49" fmla="*/ 143 h 225"/>
                <a:gd name="T50" fmla="*/ 11 w 200"/>
                <a:gd name="T51" fmla="*/ 171 h 225"/>
                <a:gd name="T52" fmla="*/ 8 w 200"/>
                <a:gd name="T53" fmla="*/ 173 h 225"/>
                <a:gd name="T54" fmla="*/ 11 w 200"/>
                <a:gd name="T55" fmla="*/ 201 h 225"/>
                <a:gd name="T56" fmla="*/ 8 w 200"/>
                <a:gd name="T57" fmla="*/ 202 h 225"/>
                <a:gd name="T58" fmla="*/ 160 w 200"/>
                <a:gd name="T59" fmla="*/ 217 h 225"/>
                <a:gd name="T60" fmla="*/ 19 w 200"/>
                <a:gd name="T61" fmla="*/ 201 h 225"/>
                <a:gd name="T62" fmla="*/ 21 w 200"/>
                <a:gd name="T63" fmla="*/ 205 h 225"/>
                <a:gd name="T64" fmla="*/ 27 w 200"/>
                <a:gd name="T65" fmla="*/ 198 h 225"/>
                <a:gd name="T66" fmla="*/ 19 w 200"/>
                <a:gd name="T67" fmla="*/ 172 h 225"/>
                <a:gd name="T68" fmla="*/ 21 w 200"/>
                <a:gd name="T69" fmla="*/ 175 h 225"/>
                <a:gd name="T70" fmla="*/ 27 w 200"/>
                <a:gd name="T71" fmla="*/ 168 h 225"/>
                <a:gd name="T72" fmla="*/ 19 w 200"/>
                <a:gd name="T73" fmla="*/ 142 h 225"/>
                <a:gd name="T74" fmla="*/ 21 w 200"/>
                <a:gd name="T75" fmla="*/ 146 h 225"/>
                <a:gd name="T76" fmla="*/ 27 w 200"/>
                <a:gd name="T77" fmla="*/ 139 h 225"/>
                <a:gd name="T78" fmla="*/ 19 w 200"/>
                <a:gd name="T79" fmla="*/ 113 h 225"/>
                <a:gd name="T80" fmla="*/ 21 w 200"/>
                <a:gd name="T81" fmla="*/ 117 h 225"/>
                <a:gd name="T82" fmla="*/ 27 w 200"/>
                <a:gd name="T83" fmla="*/ 110 h 225"/>
                <a:gd name="T84" fmla="*/ 19 w 200"/>
                <a:gd name="T85" fmla="*/ 83 h 225"/>
                <a:gd name="T86" fmla="*/ 21 w 200"/>
                <a:gd name="T87" fmla="*/ 87 h 225"/>
                <a:gd name="T88" fmla="*/ 27 w 200"/>
                <a:gd name="T89" fmla="*/ 80 h 225"/>
                <a:gd name="T90" fmla="*/ 19 w 200"/>
                <a:gd name="T91" fmla="*/ 54 h 225"/>
                <a:gd name="T92" fmla="*/ 21 w 200"/>
                <a:gd name="T93" fmla="*/ 58 h 225"/>
                <a:gd name="T94" fmla="*/ 27 w 200"/>
                <a:gd name="T95" fmla="*/ 51 h 225"/>
                <a:gd name="T96" fmla="*/ 19 w 200"/>
                <a:gd name="T97" fmla="*/ 25 h 225"/>
                <a:gd name="T98" fmla="*/ 21 w 200"/>
                <a:gd name="T99" fmla="*/ 29 h 225"/>
                <a:gd name="T100" fmla="*/ 27 w 200"/>
                <a:gd name="T101" fmla="*/ 22 h 225"/>
                <a:gd name="T102" fmla="*/ 19 w 200"/>
                <a:gd name="T103" fmla="*/ 8 h 225"/>
                <a:gd name="T104" fmla="*/ 192 w 200"/>
                <a:gd name="T105" fmla="*/ 40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00" h="225">
                  <a:moveTo>
                    <a:pt x="160" y="0"/>
                  </a:moveTo>
                  <a:cubicBezTo>
                    <a:pt x="15" y="0"/>
                    <a:pt x="15" y="0"/>
                    <a:pt x="15" y="0"/>
                  </a:cubicBezTo>
                  <a:cubicBezTo>
                    <a:pt x="12" y="0"/>
                    <a:pt x="11" y="2"/>
                    <a:pt x="11" y="4"/>
                  </a:cubicBezTo>
                  <a:cubicBezTo>
                    <a:pt x="11" y="17"/>
                    <a:pt x="11" y="17"/>
                    <a:pt x="11" y="17"/>
                  </a:cubicBezTo>
                  <a:cubicBezTo>
                    <a:pt x="4" y="18"/>
                    <a:pt x="0" y="21"/>
                    <a:pt x="0" y="26"/>
                  </a:cubicBezTo>
                  <a:cubicBezTo>
                    <a:pt x="0" y="30"/>
                    <a:pt x="4" y="34"/>
                    <a:pt x="11" y="35"/>
                  </a:cubicBezTo>
                  <a:cubicBezTo>
                    <a:pt x="11" y="46"/>
                    <a:pt x="11" y="46"/>
                    <a:pt x="11" y="46"/>
                  </a:cubicBezTo>
                  <a:cubicBezTo>
                    <a:pt x="4" y="47"/>
                    <a:pt x="0" y="51"/>
                    <a:pt x="0" y="55"/>
                  </a:cubicBezTo>
                  <a:cubicBezTo>
                    <a:pt x="0" y="60"/>
                    <a:pt x="4" y="63"/>
                    <a:pt x="11" y="65"/>
                  </a:cubicBezTo>
                  <a:cubicBezTo>
                    <a:pt x="11" y="75"/>
                    <a:pt x="11" y="75"/>
                    <a:pt x="11" y="75"/>
                  </a:cubicBezTo>
                  <a:cubicBezTo>
                    <a:pt x="4" y="76"/>
                    <a:pt x="0" y="80"/>
                    <a:pt x="0" y="85"/>
                  </a:cubicBezTo>
                  <a:cubicBezTo>
                    <a:pt x="0" y="89"/>
                    <a:pt x="4" y="93"/>
                    <a:pt x="11" y="94"/>
                  </a:cubicBezTo>
                  <a:cubicBezTo>
                    <a:pt x="11" y="105"/>
                    <a:pt x="11" y="105"/>
                    <a:pt x="11" y="105"/>
                  </a:cubicBezTo>
                  <a:cubicBezTo>
                    <a:pt x="4" y="106"/>
                    <a:pt x="0" y="109"/>
                    <a:pt x="0" y="114"/>
                  </a:cubicBezTo>
                  <a:cubicBezTo>
                    <a:pt x="0" y="119"/>
                    <a:pt x="4" y="122"/>
                    <a:pt x="11" y="123"/>
                  </a:cubicBezTo>
                  <a:cubicBezTo>
                    <a:pt x="11" y="134"/>
                    <a:pt x="11" y="134"/>
                    <a:pt x="11" y="134"/>
                  </a:cubicBezTo>
                  <a:cubicBezTo>
                    <a:pt x="4" y="135"/>
                    <a:pt x="0" y="139"/>
                    <a:pt x="0" y="143"/>
                  </a:cubicBezTo>
                  <a:cubicBezTo>
                    <a:pt x="0" y="148"/>
                    <a:pt x="4" y="152"/>
                    <a:pt x="11" y="153"/>
                  </a:cubicBezTo>
                  <a:cubicBezTo>
                    <a:pt x="11" y="163"/>
                    <a:pt x="11" y="163"/>
                    <a:pt x="11" y="163"/>
                  </a:cubicBezTo>
                  <a:cubicBezTo>
                    <a:pt x="4" y="164"/>
                    <a:pt x="0" y="168"/>
                    <a:pt x="0" y="173"/>
                  </a:cubicBezTo>
                  <a:cubicBezTo>
                    <a:pt x="0" y="177"/>
                    <a:pt x="4" y="181"/>
                    <a:pt x="11" y="182"/>
                  </a:cubicBezTo>
                  <a:cubicBezTo>
                    <a:pt x="11" y="193"/>
                    <a:pt x="11" y="193"/>
                    <a:pt x="11" y="193"/>
                  </a:cubicBezTo>
                  <a:cubicBezTo>
                    <a:pt x="4" y="194"/>
                    <a:pt x="0" y="197"/>
                    <a:pt x="0" y="202"/>
                  </a:cubicBezTo>
                  <a:cubicBezTo>
                    <a:pt x="0" y="207"/>
                    <a:pt x="4" y="210"/>
                    <a:pt x="11" y="211"/>
                  </a:cubicBezTo>
                  <a:cubicBezTo>
                    <a:pt x="11" y="221"/>
                    <a:pt x="11" y="221"/>
                    <a:pt x="11" y="221"/>
                  </a:cubicBezTo>
                  <a:cubicBezTo>
                    <a:pt x="11" y="223"/>
                    <a:pt x="12" y="225"/>
                    <a:pt x="15" y="225"/>
                  </a:cubicBezTo>
                  <a:cubicBezTo>
                    <a:pt x="160" y="225"/>
                    <a:pt x="160" y="225"/>
                    <a:pt x="160" y="225"/>
                  </a:cubicBezTo>
                  <a:cubicBezTo>
                    <a:pt x="182" y="225"/>
                    <a:pt x="200" y="207"/>
                    <a:pt x="200" y="185"/>
                  </a:cubicBezTo>
                  <a:cubicBezTo>
                    <a:pt x="200" y="40"/>
                    <a:pt x="200" y="40"/>
                    <a:pt x="200" y="40"/>
                  </a:cubicBezTo>
                  <a:cubicBezTo>
                    <a:pt x="200" y="18"/>
                    <a:pt x="182" y="0"/>
                    <a:pt x="160" y="0"/>
                  </a:cubicBezTo>
                  <a:close/>
                  <a:moveTo>
                    <a:pt x="8" y="26"/>
                  </a:moveTo>
                  <a:cubicBezTo>
                    <a:pt x="9" y="26"/>
                    <a:pt x="9" y="25"/>
                    <a:pt x="11" y="25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9" y="27"/>
                    <a:pt x="9" y="26"/>
                    <a:pt x="8" y="26"/>
                  </a:cubicBezTo>
                  <a:close/>
                  <a:moveTo>
                    <a:pt x="8" y="55"/>
                  </a:moveTo>
                  <a:cubicBezTo>
                    <a:pt x="9" y="55"/>
                    <a:pt x="9" y="54"/>
                    <a:pt x="11" y="54"/>
                  </a:cubicBezTo>
                  <a:cubicBezTo>
                    <a:pt x="11" y="56"/>
                    <a:pt x="11" y="56"/>
                    <a:pt x="11" y="56"/>
                  </a:cubicBezTo>
                  <a:cubicBezTo>
                    <a:pt x="9" y="56"/>
                    <a:pt x="9" y="56"/>
                    <a:pt x="8" y="55"/>
                  </a:cubicBezTo>
                  <a:close/>
                  <a:moveTo>
                    <a:pt x="8" y="85"/>
                  </a:moveTo>
                  <a:cubicBezTo>
                    <a:pt x="9" y="84"/>
                    <a:pt x="9" y="84"/>
                    <a:pt x="11" y="83"/>
                  </a:cubicBezTo>
                  <a:cubicBezTo>
                    <a:pt x="11" y="86"/>
                    <a:pt x="11" y="86"/>
                    <a:pt x="11" y="86"/>
                  </a:cubicBezTo>
                  <a:cubicBezTo>
                    <a:pt x="9" y="85"/>
                    <a:pt x="9" y="85"/>
                    <a:pt x="8" y="85"/>
                  </a:cubicBezTo>
                  <a:close/>
                  <a:moveTo>
                    <a:pt x="8" y="114"/>
                  </a:moveTo>
                  <a:cubicBezTo>
                    <a:pt x="9" y="114"/>
                    <a:pt x="9" y="113"/>
                    <a:pt x="11" y="113"/>
                  </a:cubicBezTo>
                  <a:cubicBezTo>
                    <a:pt x="11" y="115"/>
                    <a:pt x="11" y="115"/>
                    <a:pt x="11" y="115"/>
                  </a:cubicBezTo>
                  <a:cubicBezTo>
                    <a:pt x="9" y="115"/>
                    <a:pt x="9" y="114"/>
                    <a:pt x="8" y="114"/>
                  </a:cubicBezTo>
                  <a:close/>
                  <a:moveTo>
                    <a:pt x="8" y="143"/>
                  </a:moveTo>
                  <a:cubicBezTo>
                    <a:pt x="9" y="143"/>
                    <a:pt x="9" y="142"/>
                    <a:pt x="11" y="142"/>
                  </a:cubicBezTo>
                  <a:cubicBezTo>
                    <a:pt x="11" y="144"/>
                    <a:pt x="11" y="144"/>
                    <a:pt x="11" y="144"/>
                  </a:cubicBezTo>
                  <a:cubicBezTo>
                    <a:pt x="9" y="144"/>
                    <a:pt x="9" y="144"/>
                    <a:pt x="8" y="143"/>
                  </a:cubicBezTo>
                  <a:close/>
                  <a:moveTo>
                    <a:pt x="8" y="173"/>
                  </a:moveTo>
                  <a:cubicBezTo>
                    <a:pt x="9" y="172"/>
                    <a:pt x="9" y="172"/>
                    <a:pt x="11" y="171"/>
                  </a:cubicBezTo>
                  <a:cubicBezTo>
                    <a:pt x="11" y="174"/>
                    <a:pt x="11" y="174"/>
                    <a:pt x="11" y="174"/>
                  </a:cubicBezTo>
                  <a:cubicBezTo>
                    <a:pt x="9" y="173"/>
                    <a:pt x="9" y="173"/>
                    <a:pt x="8" y="173"/>
                  </a:cubicBezTo>
                  <a:close/>
                  <a:moveTo>
                    <a:pt x="8" y="202"/>
                  </a:moveTo>
                  <a:cubicBezTo>
                    <a:pt x="9" y="202"/>
                    <a:pt x="9" y="201"/>
                    <a:pt x="11" y="201"/>
                  </a:cubicBezTo>
                  <a:cubicBezTo>
                    <a:pt x="11" y="203"/>
                    <a:pt x="11" y="203"/>
                    <a:pt x="11" y="203"/>
                  </a:cubicBezTo>
                  <a:cubicBezTo>
                    <a:pt x="9" y="203"/>
                    <a:pt x="9" y="202"/>
                    <a:pt x="8" y="202"/>
                  </a:cubicBezTo>
                  <a:close/>
                  <a:moveTo>
                    <a:pt x="192" y="185"/>
                  </a:moveTo>
                  <a:cubicBezTo>
                    <a:pt x="192" y="202"/>
                    <a:pt x="177" y="217"/>
                    <a:pt x="160" y="217"/>
                  </a:cubicBezTo>
                  <a:cubicBezTo>
                    <a:pt x="19" y="217"/>
                    <a:pt x="19" y="217"/>
                    <a:pt x="19" y="217"/>
                  </a:cubicBezTo>
                  <a:cubicBezTo>
                    <a:pt x="19" y="201"/>
                    <a:pt x="19" y="201"/>
                    <a:pt x="19" y="201"/>
                  </a:cubicBezTo>
                  <a:cubicBezTo>
                    <a:pt x="20" y="201"/>
                    <a:pt x="20" y="202"/>
                    <a:pt x="21" y="202"/>
                  </a:cubicBezTo>
                  <a:cubicBezTo>
                    <a:pt x="21" y="203"/>
                    <a:pt x="22" y="203"/>
                    <a:pt x="21" y="205"/>
                  </a:cubicBezTo>
                  <a:cubicBezTo>
                    <a:pt x="29" y="207"/>
                    <a:pt x="29" y="207"/>
                    <a:pt x="29" y="207"/>
                  </a:cubicBezTo>
                  <a:cubicBezTo>
                    <a:pt x="30" y="203"/>
                    <a:pt x="29" y="200"/>
                    <a:pt x="27" y="198"/>
                  </a:cubicBezTo>
                  <a:cubicBezTo>
                    <a:pt x="26" y="195"/>
                    <a:pt x="22" y="193"/>
                    <a:pt x="19" y="193"/>
                  </a:cubicBezTo>
                  <a:cubicBezTo>
                    <a:pt x="19" y="172"/>
                    <a:pt x="19" y="172"/>
                    <a:pt x="19" y="172"/>
                  </a:cubicBezTo>
                  <a:cubicBezTo>
                    <a:pt x="20" y="172"/>
                    <a:pt x="20" y="172"/>
                    <a:pt x="21" y="173"/>
                  </a:cubicBezTo>
                  <a:cubicBezTo>
                    <a:pt x="21" y="173"/>
                    <a:pt x="22" y="174"/>
                    <a:pt x="21" y="175"/>
                  </a:cubicBezTo>
                  <a:cubicBezTo>
                    <a:pt x="29" y="178"/>
                    <a:pt x="29" y="178"/>
                    <a:pt x="29" y="178"/>
                  </a:cubicBezTo>
                  <a:cubicBezTo>
                    <a:pt x="30" y="173"/>
                    <a:pt x="29" y="170"/>
                    <a:pt x="27" y="168"/>
                  </a:cubicBezTo>
                  <a:cubicBezTo>
                    <a:pt x="26" y="166"/>
                    <a:pt x="22" y="164"/>
                    <a:pt x="19" y="163"/>
                  </a:cubicBezTo>
                  <a:cubicBezTo>
                    <a:pt x="19" y="142"/>
                    <a:pt x="19" y="142"/>
                    <a:pt x="19" y="142"/>
                  </a:cubicBezTo>
                  <a:cubicBezTo>
                    <a:pt x="20" y="143"/>
                    <a:pt x="20" y="143"/>
                    <a:pt x="21" y="144"/>
                  </a:cubicBezTo>
                  <a:cubicBezTo>
                    <a:pt x="21" y="144"/>
                    <a:pt x="22" y="145"/>
                    <a:pt x="21" y="146"/>
                  </a:cubicBezTo>
                  <a:cubicBezTo>
                    <a:pt x="29" y="148"/>
                    <a:pt x="29" y="148"/>
                    <a:pt x="29" y="148"/>
                  </a:cubicBezTo>
                  <a:cubicBezTo>
                    <a:pt x="30" y="144"/>
                    <a:pt x="29" y="141"/>
                    <a:pt x="27" y="139"/>
                  </a:cubicBezTo>
                  <a:cubicBezTo>
                    <a:pt x="26" y="136"/>
                    <a:pt x="22" y="135"/>
                    <a:pt x="19" y="134"/>
                  </a:cubicBezTo>
                  <a:cubicBezTo>
                    <a:pt x="19" y="113"/>
                    <a:pt x="19" y="113"/>
                    <a:pt x="19" y="113"/>
                  </a:cubicBezTo>
                  <a:cubicBezTo>
                    <a:pt x="20" y="113"/>
                    <a:pt x="20" y="114"/>
                    <a:pt x="21" y="114"/>
                  </a:cubicBezTo>
                  <a:cubicBezTo>
                    <a:pt x="21" y="115"/>
                    <a:pt x="22" y="115"/>
                    <a:pt x="21" y="117"/>
                  </a:cubicBezTo>
                  <a:cubicBezTo>
                    <a:pt x="29" y="119"/>
                    <a:pt x="29" y="119"/>
                    <a:pt x="29" y="119"/>
                  </a:cubicBezTo>
                  <a:cubicBezTo>
                    <a:pt x="30" y="115"/>
                    <a:pt x="29" y="111"/>
                    <a:pt x="27" y="110"/>
                  </a:cubicBezTo>
                  <a:cubicBezTo>
                    <a:pt x="26" y="107"/>
                    <a:pt x="22" y="105"/>
                    <a:pt x="19" y="105"/>
                  </a:cubicBezTo>
                  <a:cubicBezTo>
                    <a:pt x="19" y="83"/>
                    <a:pt x="19" y="83"/>
                    <a:pt x="19" y="83"/>
                  </a:cubicBezTo>
                  <a:cubicBezTo>
                    <a:pt x="20" y="84"/>
                    <a:pt x="20" y="84"/>
                    <a:pt x="21" y="85"/>
                  </a:cubicBezTo>
                  <a:cubicBezTo>
                    <a:pt x="21" y="85"/>
                    <a:pt x="22" y="86"/>
                    <a:pt x="21" y="87"/>
                  </a:cubicBezTo>
                  <a:cubicBezTo>
                    <a:pt x="29" y="90"/>
                    <a:pt x="29" y="90"/>
                    <a:pt x="29" y="90"/>
                  </a:cubicBezTo>
                  <a:cubicBezTo>
                    <a:pt x="30" y="85"/>
                    <a:pt x="29" y="82"/>
                    <a:pt x="27" y="80"/>
                  </a:cubicBezTo>
                  <a:cubicBezTo>
                    <a:pt x="26" y="78"/>
                    <a:pt x="22" y="76"/>
                    <a:pt x="19" y="75"/>
                  </a:cubicBezTo>
                  <a:cubicBezTo>
                    <a:pt x="19" y="54"/>
                    <a:pt x="19" y="54"/>
                    <a:pt x="19" y="54"/>
                  </a:cubicBezTo>
                  <a:cubicBezTo>
                    <a:pt x="20" y="54"/>
                    <a:pt x="20" y="55"/>
                    <a:pt x="21" y="56"/>
                  </a:cubicBezTo>
                  <a:cubicBezTo>
                    <a:pt x="21" y="56"/>
                    <a:pt x="22" y="56"/>
                    <a:pt x="21" y="58"/>
                  </a:cubicBezTo>
                  <a:cubicBezTo>
                    <a:pt x="29" y="60"/>
                    <a:pt x="29" y="60"/>
                    <a:pt x="29" y="60"/>
                  </a:cubicBezTo>
                  <a:cubicBezTo>
                    <a:pt x="30" y="56"/>
                    <a:pt x="29" y="53"/>
                    <a:pt x="27" y="51"/>
                  </a:cubicBezTo>
                  <a:cubicBezTo>
                    <a:pt x="26" y="48"/>
                    <a:pt x="22" y="47"/>
                    <a:pt x="19" y="46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20" y="25"/>
                    <a:pt x="20" y="26"/>
                    <a:pt x="21" y="26"/>
                  </a:cubicBezTo>
                  <a:cubicBezTo>
                    <a:pt x="21" y="26"/>
                    <a:pt x="22" y="27"/>
                    <a:pt x="21" y="29"/>
                  </a:cubicBezTo>
                  <a:cubicBezTo>
                    <a:pt x="29" y="31"/>
                    <a:pt x="29" y="31"/>
                    <a:pt x="29" y="31"/>
                  </a:cubicBezTo>
                  <a:cubicBezTo>
                    <a:pt x="30" y="27"/>
                    <a:pt x="29" y="23"/>
                    <a:pt x="27" y="22"/>
                  </a:cubicBezTo>
                  <a:cubicBezTo>
                    <a:pt x="26" y="19"/>
                    <a:pt x="22" y="17"/>
                    <a:pt x="19" y="16"/>
                  </a:cubicBezTo>
                  <a:cubicBezTo>
                    <a:pt x="19" y="8"/>
                    <a:pt x="19" y="8"/>
                    <a:pt x="19" y="8"/>
                  </a:cubicBezTo>
                  <a:cubicBezTo>
                    <a:pt x="160" y="8"/>
                    <a:pt x="160" y="8"/>
                    <a:pt x="160" y="8"/>
                  </a:cubicBezTo>
                  <a:cubicBezTo>
                    <a:pt x="177" y="8"/>
                    <a:pt x="192" y="22"/>
                    <a:pt x="192" y="40"/>
                  </a:cubicBezTo>
                  <a:lnTo>
                    <a:pt x="192" y="18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827920"/>
              <a:endParaRPr lang="en-US" sz="3734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37" name="Teal Tile"/>
          <p:cNvGrpSpPr/>
          <p:nvPr userDrawn="1"/>
        </p:nvGrpSpPr>
        <p:grpSpPr>
          <a:xfrm>
            <a:off x="2033549" y="9365656"/>
            <a:ext cx="2652450" cy="2651760"/>
            <a:chOff x="1020317" y="4686638"/>
            <a:chExt cx="1325880" cy="1325880"/>
          </a:xfrm>
        </p:grpSpPr>
        <p:sp>
          <p:nvSpPr>
            <p:cNvPr id="38" name="Rectangle 37"/>
            <p:cNvSpPr/>
            <p:nvPr/>
          </p:nvSpPr>
          <p:spPr bwMode="auto">
            <a:xfrm>
              <a:off x="1020317" y="4686638"/>
              <a:ext cx="1325880" cy="1325880"/>
            </a:xfrm>
            <a:prstGeom prst="rect">
              <a:avLst/>
            </a:prstGeom>
            <a:solidFill>
              <a:schemeClr val="accent4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vert="horz" wrap="square" lIns="91436" tIns="45718" rIns="91436" bIns="45718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1827392"/>
              <a:endParaRPr lang="en-US" sz="4534" dirty="0">
                <a:solidFill>
                  <a:srgbClr val="FFFFFF">
                    <a:lumMod val="20000"/>
                    <a:lumOff val="80000"/>
                    <a:alpha val="99000"/>
                  </a:srgbClr>
                </a:soli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39" name="Freeform 13"/>
            <p:cNvSpPr>
              <a:spLocks noEditPoints="1"/>
            </p:cNvSpPr>
            <p:nvPr/>
          </p:nvSpPr>
          <p:spPr bwMode="auto">
            <a:xfrm>
              <a:off x="1455948" y="4930478"/>
              <a:ext cx="454618" cy="838200"/>
            </a:xfrm>
            <a:custGeom>
              <a:avLst/>
              <a:gdLst>
                <a:gd name="T0" fmla="*/ 2 w 122"/>
                <a:gd name="T1" fmla="*/ 65 h 225"/>
                <a:gd name="T2" fmla="*/ 14 w 122"/>
                <a:gd name="T3" fmla="*/ 77 h 225"/>
                <a:gd name="T4" fmla="*/ 17 w 122"/>
                <a:gd name="T5" fmla="*/ 76 h 225"/>
                <a:gd name="T6" fmla="*/ 119 w 122"/>
                <a:gd name="T7" fmla="*/ 42 h 225"/>
                <a:gd name="T8" fmla="*/ 119 w 122"/>
                <a:gd name="T9" fmla="*/ 30 h 225"/>
                <a:gd name="T10" fmla="*/ 105 w 122"/>
                <a:gd name="T11" fmla="*/ 23 h 225"/>
                <a:gd name="T12" fmla="*/ 3 w 122"/>
                <a:gd name="T13" fmla="*/ 57 h 225"/>
                <a:gd name="T14" fmla="*/ 108 w 122"/>
                <a:gd name="T15" fmla="*/ 28 h 225"/>
                <a:gd name="T16" fmla="*/ 114 w 122"/>
                <a:gd name="T17" fmla="*/ 35 h 225"/>
                <a:gd name="T18" fmla="*/ 111 w 122"/>
                <a:gd name="T19" fmla="*/ 42 h 225"/>
                <a:gd name="T20" fmla="*/ 14 w 122"/>
                <a:gd name="T21" fmla="*/ 71 h 225"/>
                <a:gd name="T22" fmla="*/ 9 w 122"/>
                <a:gd name="T23" fmla="*/ 67 h 225"/>
                <a:gd name="T24" fmla="*/ 8 w 122"/>
                <a:gd name="T25" fmla="*/ 59 h 225"/>
                <a:gd name="T26" fmla="*/ 106 w 122"/>
                <a:gd name="T27" fmla="*/ 28 h 225"/>
                <a:gd name="T28" fmla="*/ 14 w 122"/>
                <a:gd name="T29" fmla="*/ 43 h 225"/>
                <a:gd name="T30" fmla="*/ 66 w 122"/>
                <a:gd name="T31" fmla="*/ 28 h 225"/>
                <a:gd name="T32" fmla="*/ 73 w 122"/>
                <a:gd name="T33" fmla="*/ 10 h 225"/>
                <a:gd name="T34" fmla="*/ 9 w 122"/>
                <a:gd name="T35" fmla="*/ 17 h 225"/>
                <a:gd name="T36" fmla="*/ 3 w 122"/>
                <a:gd name="T37" fmla="*/ 35 h 225"/>
                <a:gd name="T38" fmla="*/ 61 w 122"/>
                <a:gd name="T39" fmla="*/ 8 h 225"/>
                <a:gd name="T40" fmla="*/ 67 w 122"/>
                <a:gd name="T41" fmla="*/ 12 h 225"/>
                <a:gd name="T42" fmla="*/ 65 w 122"/>
                <a:gd name="T43" fmla="*/ 22 h 225"/>
                <a:gd name="T44" fmla="*/ 14 w 122"/>
                <a:gd name="T45" fmla="*/ 37 h 225"/>
                <a:gd name="T46" fmla="*/ 8 w 122"/>
                <a:gd name="T47" fmla="*/ 30 h 225"/>
                <a:gd name="T48" fmla="*/ 120 w 122"/>
                <a:gd name="T49" fmla="*/ 101 h 225"/>
                <a:gd name="T50" fmla="*/ 105 w 122"/>
                <a:gd name="T51" fmla="*/ 90 h 225"/>
                <a:gd name="T52" fmla="*/ 72 w 122"/>
                <a:gd name="T53" fmla="*/ 110 h 225"/>
                <a:gd name="T54" fmla="*/ 55 w 122"/>
                <a:gd name="T55" fmla="*/ 138 h 225"/>
                <a:gd name="T56" fmla="*/ 53 w 122"/>
                <a:gd name="T57" fmla="*/ 99 h 225"/>
                <a:gd name="T58" fmla="*/ 119 w 122"/>
                <a:gd name="T59" fmla="*/ 76 h 225"/>
                <a:gd name="T60" fmla="*/ 119 w 122"/>
                <a:gd name="T61" fmla="*/ 64 h 225"/>
                <a:gd name="T62" fmla="*/ 9 w 122"/>
                <a:gd name="T63" fmla="*/ 85 h 225"/>
                <a:gd name="T64" fmla="*/ 1 w 122"/>
                <a:gd name="T65" fmla="*/ 97 h 225"/>
                <a:gd name="T66" fmla="*/ 3 w 122"/>
                <a:gd name="T67" fmla="*/ 102 h 225"/>
                <a:gd name="T68" fmla="*/ 11 w 122"/>
                <a:gd name="T69" fmla="*/ 110 h 225"/>
                <a:gd name="T70" fmla="*/ 28 w 122"/>
                <a:gd name="T71" fmla="*/ 121 h 225"/>
                <a:gd name="T72" fmla="*/ 17 w 122"/>
                <a:gd name="T73" fmla="*/ 138 h 225"/>
                <a:gd name="T74" fmla="*/ 40 w 122"/>
                <a:gd name="T75" fmla="*/ 209 h 225"/>
                <a:gd name="T76" fmla="*/ 53 w 122"/>
                <a:gd name="T77" fmla="*/ 225 h 225"/>
                <a:gd name="T78" fmla="*/ 87 w 122"/>
                <a:gd name="T79" fmla="*/ 214 h 225"/>
                <a:gd name="T80" fmla="*/ 110 w 122"/>
                <a:gd name="T81" fmla="*/ 187 h 225"/>
                <a:gd name="T82" fmla="*/ 99 w 122"/>
                <a:gd name="T83" fmla="*/ 138 h 225"/>
                <a:gd name="T84" fmla="*/ 104 w 122"/>
                <a:gd name="T85" fmla="*/ 117 h 225"/>
                <a:gd name="T86" fmla="*/ 120 w 122"/>
                <a:gd name="T87" fmla="*/ 101 h 225"/>
                <a:gd name="T88" fmla="*/ 47 w 122"/>
                <a:gd name="T89" fmla="*/ 101 h 225"/>
                <a:gd name="T90" fmla="*/ 49 w 122"/>
                <a:gd name="T91" fmla="*/ 138 h 225"/>
                <a:gd name="T92" fmla="*/ 35 w 122"/>
                <a:gd name="T93" fmla="*/ 121 h 225"/>
                <a:gd name="T94" fmla="*/ 24 w 122"/>
                <a:gd name="T95" fmla="*/ 108 h 225"/>
                <a:gd name="T96" fmla="*/ 12 w 122"/>
                <a:gd name="T97" fmla="*/ 104 h 225"/>
                <a:gd name="T98" fmla="*/ 8 w 122"/>
                <a:gd name="T99" fmla="*/ 97 h 225"/>
                <a:gd name="T100" fmla="*/ 8 w 122"/>
                <a:gd name="T101" fmla="*/ 93 h 225"/>
                <a:gd name="T102" fmla="*/ 12 w 122"/>
                <a:gd name="T103" fmla="*/ 90 h 225"/>
                <a:gd name="T104" fmla="*/ 24 w 122"/>
                <a:gd name="T105" fmla="*/ 86 h 225"/>
                <a:gd name="T106" fmla="*/ 108 w 122"/>
                <a:gd name="T107" fmla="*/ 62 h 225"/>
                <a:gd name="T108" fmla="*/ 114 w 122"/>
                <a:gd name="T109" fmla="*/ 69 h 225"/>
                <a:gd name="T110" fmla="*/ 111 w 122"/>
                <a:gd name="T111" fmla="*/ 76 h 225"/>
                <a:gd name="T112" fmla="*/ 43 w 122"/>
                <a:gd name="T113" fmla="*/ 98 h 225"/>
                <a:gd name="T114" fmla="*/ 103 w 122"/>
                <a:gd name="T115" fmla="*/ 111 h 225"/>
                <a:gd name="T116" fmla="*/ 92 w 122"/>
                <a:gd name="T117" fmla="*/ 138 h 225"/>
                <a:gd name="T118" fmla="*/ 78 w 122"/>
                <a:gd name="T119" fmla="*/ 110 h 225"/>
                <a:gd name="T120" fmla="*/ 106 w 122"/>
                <a:gd name="T121" fmla="*/ 96 h 225"/>
                <a:gd name="T122" fmla="*/ 114 w 122"/>
                <a:gd name="T123" fmla="*/ 103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22" h="225">
                  <a:moveTo>
                    <a:pt x="3" y="57"/>
                  </a:moveTo>
                  <a:cubicBezTo>
                    <a:pt x="1" y="59"/>
                    <a:pt x="1" y="62"/>
                    <a:pt x="2" y="65"/>
                  </a:cubicBezTo>
                  <a:cubicBezTo>
                    <a:pt x="3" y="69"/>
                    <a:pt x="3" y="69"/>
                    <a:pt x="3" y="69"/>
                  </a:cubicBezTo>
                  <a:cubicBezTo>
                    <a:pt x="4" y="74"/>
                    <a:pt x="9" y="77"/>
                    <a:pt x="14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5" y="77"/>
                    <a:pt x="16" y="77"/>
                    <a:pt x="17" y="76"/>
                  </a:cubicBezTo>
                  <a:cubicBezTo>
                    <a:pt x="112" y="48"/>
                    <a:pt x="112" y="48"/>
                    <a:pt x="112" y="48"/>
                  </a:cubicBezTo>
                  <a:cubicBezTo>
                    <a:pt x="115" y="47"/>
                    <a:pt x="118" y="45"/>
                    <a:pt x="119" y="42"/>
                  </a:cubicBezTo>
                  <a:cubicBezTo>
                    <a:pt x="120" y="40"/>
                    <a:pt x="121" y="37"/>
                    <a:pt x="120" y="34"/>
                  </a:cubicBezTo>
                  <a:cubicBezTo>
                    <a:pt x="119" y="30"/>
                    <a:pt x="119" y="30"/>
                    <a:pt x="119" y="30"/>
                  </a:cubicBezTo>
                  <a:cubicBezTo>
                    <a:pt x="117" y="25"/>
                    <a:pt x="113" y="22"/>
                    <a:pt x="108" y="22"/>
                  </a:cubicBezTo>
                  <a:cubicBezTo>
                    <a:pt x="107" y="22"/>
                    <a:pt x="106" y="22"/>
                    <a:pt x="105" y="23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6" y="52"/>
                    <a:pt x="4" y="54"/>
                    <a:pt x="3" y="57"/>
                  </a:cubicBezTo>
                  <a:close/>
                  <a:moveTo>
                    <a:pt x="106" y="28"/>
                  </a:moveTo>
                  <a:cubicBezTo>
                    <a:pt x="107" y="28"/>
                    <a:pt x="107" y="28"/>
                    <a:pt x="108" y="28"/>
                  </a:cubicBezTo>
                  <a:cubicBezTo>
                    <a:pt x="110" y="28"/>
                    <a:pt x="112" y="30"/>
                    <a:pt x="113" y="32"/>
                  </a:cubicBezTo>
                  <a:cubicBezTo>
                    <a:pt x="114" y="35"/>
                    <a:pt x="114" y="35"/>
                    <a:pt x="114" y="35"/>
                  </a:cubicBezTo>
                  <a:cubicBezTo>
                    <a:pt x="115" y="37"/>
                    <a:pt x="114" y="38"/>
                    <a:pt x="114" y="40"/>
                  </a:cubicBezTo>
                  <a:cubicBezTo>
                    <a:pt x="113" y="41"/>
                    <a:pt x="112" y="42"/>
                    <a:pt x="111" y="42"/>
                  </a:cubicBezTo>
                  <a:cubicBezTo>
                    <a:pt x="15" y="71"/>
                    <a:pt x="15" y="71"/>
                    <a:pt x="15" y="71"/>
                  </a:cubicBezTo>
                  <a:cubicBezTo>
                    <a:pt x="15" y="71"/>
                    <a:pt x="14" y="71"/>
                    <a:pt x="14" y="71"/>
                  </a:cubicBezTo>
                  <a:cubicBezTo>
                    <a:pt x="14" y="71"/>
                    <a:pt x="14" y="71"/>
                    <a:pt x="14" y="71"/>
                  </a:cubicBezTo>
                  <a:cubicBezTo>
                    <a:pt x="11" y="71"/>
                    <a:pt x="9" y="69"/>
                    <a:pt x="9" y="67"/>
                  </a:cubicBezTo>
                  <a:cubicBezTo>
                    <a:pt x="8" y="63"/>
                    <a:pt x="8" y="63"/>
                    <a:pt x="8" y="63"/>
                  </a:cubicBezTo>
                  <a:cubicBezTo>
                    <a:pt x="7" y="62"/>
                    <a:pt x="7" y="61"/>
                    <a:pt x="8" y="59"/>
                  </a:cubicBezTo>
                  <a:cubicBezTo>
                    <a:pt x="9" y="58"/>
                    <a:pt x="10" y="57"/>
                    <a:pt x="11" y="57"/>
                  </a:cubicBezTo>
                  <a:lnTo>
                    <a:pt x="106" y="28"/>
                  </a:lnTo>
                  <a:close/>
                  <a:moveTo>
                    <a:pt x="3" y="35"/>
                  </a:moveTo>
                  <a:cubicBezTo>
                    <a:pt x="4" y="40"/>
                    <a:pt x="9" y="43"/>
                    <a:pt x="14" y="43"/>
                  </a:cubicBezTo>
                  <a:cubicBezTo>
                    <a:pt x="15" y="43"/>
                    <a:pt x="16" y="43"/>
                    <a:pt x="17" y="43"/>
                  </a:cubicBezTo>
                  <a:cubicBezTo>
                    <a:pt x="66" y="28"/>
                    <a:pt x="66" y="28"/>
                    <a:pt x="66" y="28"/>
                  </a:cubicBezTo>
                  <a:cubicBezTo>
                    <a:pt x="72" y="26"/>
                    <a:pt x="76" y="19"/>
                    <a:pt x="74" y="13"/>
                  </a:cubicBezTo>
                  <a:cubicBezTo>
                    <a:pt x="73" y="10"/>
                    <a:pt x="73" y="10"/>
                    <a:pt x="73" y="10"/>
                  </a:cubicBezTo>
                  <a:cubicBezTo>
                    <a:pt x="71" y="4"/>
                    <a:pt x="65" y="0"/>
                    <a:pt x="59" y="2"/>
                  </a:cubicBezTo>
                  <a:cubicBezTo>
                    <a:pt x="9" y="17"/>
                    <a:pt x="9" y="17"/>
                    <a:pt x="9" y="17"/>
                  </a:cubicBezTo>
                  <a:cubicBezTo>
                    <a:pt x="3" y="19"/>
                    <a:pt x="0" y="25"/>
                    <a:pt x="2" y="31"/>
                  </a:cubicBezTo>
                  <a:lnTo>
                    <a:pt x="3" y="35"/>
                  </a:lnTo>
                  <a:close/>
                  <a:moveTo>
                    <a:pt x="11" y="23"/>
                  </a:moveTo>
                  <a:cubicBezTo>
                    <a:pt x="61" y="8"/>
                    <a:pt x="61" y="8"/>
                    <a:pt x="61" y="8"/>
                  </a:cubicBezTo>
                  <a:cubicBezTo>
                    <a:pt x="61" y="8"/>
                    <a:pt x="62" y="8"/>
                    <a:pt x="62" y="8"/>
                  </a:cubicBezTo>
                  <a:cubicBezTo>
                    <a:pt x="64" y="8"/>
                    <a:pt x="67" y="9"/>
                    <a:pt x="67" y="12"/>
                  </a:cubicBezTo>
                  <a:cubicBezTo>
                    <a:pt x="68" y="15"/>
                    <a:pt x="68" y="15"/>
                    <a:pt x="68" y="15"/>
                  </a:cubicBezTo>
                  <a:cubicBezTo>
                    <a:pt x="69" y="18"/>
                    <a:pt x="68" y="21"/>
                    <a:pt x="65" y="22"/>
                  </a:cubicBezTo>
                  <a:cubicBezTo>
                    <a:pt x="15" y="37"/>
                    <a:pt x="15" y="37"/>
                    <a:pt x="15" y="37"/>
                  </a:cubicBezTo>
                  <a:cubicBezTo>
                    <a:pt x="15" y="37"/>
                    <a:pt x="14" y="37"/>
                    <a:pt x="14" y="37"/>
                  </a:cubicBezTo>
                  <a:cubicBezTo>
                    <a:pt x="11" y="37"/>
                    <a:pt x="9" y="36"/>
                    <a:pt x="9" y="33"/>
                  </a:cubicBezTo>
                  <a:cubicBezTo>
                    <a:pt x="8" y="30"/>
                    <a:pt x="8" y="30"/>
                    <a:pt x="8" y="30"/>
                  </a:cubicBezTo>
                  <a:cubicBezTo>
                    <a:pt x="7" y="27"/>
                    <a:pt x="8" y="24"/>
                    <a:pt x="11" y="23"/>
                  </a:cubicBezTo>
                  <a:close/>
                  <a:moveTo>
                    <a:pt x="120" y="101"/>
                  </a:moveTo>
                  <a:cubicBezTo>
                    <a:pt x="119" y="97"/>
                    <a:pt x="119" y="97"/>
                    <a:pt x="119" y="97"/>
                  </a:cubicBezTo>
                  <a:cubicBezTo>
                    <a:pt x="117" y="92"/>
                    <a:pt x="110" y="88"/>
                    <a:pt x="105" y="90"/>
                  </a:cubicBezTo>
                  <a:cubicBezTo>
                    <a:pt x="82" y="96"/>
                    <a:pt x="82" y="96"/>
                    <a:pt x="82" y="96"/>
                  </a:cubicBezTo>
                  <a:cubicBezTo>
                    <a:pt x="76" y="98"/>
                    <a:pt x="72" y="104"/>
                    <a:pt x="72" y="110"/>
                  </a:cubicBezTo>
                  <a:cubicBezTo>
                    <a:pt x="72" y="138"/>
                    <a:pt x="72" y="138"/>
                    <a:pt x="72" y="138"/>
                  </a:cubicBezTo>
                  <a:cubicBezTo>
                    <a:pt x="55" y="138"/>
                    <a:pt x="55" y="138"/>
                    <a:pt x="55" y="138"/>
                  </a:cubicBezTo>
                  <a:cubicBezTo>
                    <a:pt x="55" y="106"/>
                    <a:pt x="55" y="106"/>
                    <a:pt x="55" y="106"/>
                  </a:cubicBezTo>
                  <a:cubicBezTo>
                    <a:pt x="55" y="104"/>
                    <a:pt x="54" y="101"/>
                    <a:pt x="53" y="99"/>
                  </a:cubicBezTo>
                  <a:cubicBezTo>
                    <a:pt x="112" y="82"/>
                    <a:pt x="112" y="82"/>
                    <a:pt x="112" y="82"/>
                  </a:cubicBezTo>
                  <a:cubicBezTo>
                    <a:pt x="115" y="81"/>
                    <a:pt x="118" y="79"/>
                    <a:pt x="119" y="76"/>
                  </a:cubicBezTo>
                  <a:cubicBezTo>
                    <a:pt x="120" y="73"/>
                    <a:pt x="121" y="70"/>
                    <a:pt x="120" y="67"/>
                  </a:cubicBezTo>
                  <a:cubicBezTo>
                    <a:pt x="119" y="64"/>
                    <a:pt x="119" y="64"/>
                    <a:pt x="119" y="64"/>
                  </a:cubicBezTo>
                  <a:cubicBezTo>
                    <a:pt x="117" y="58"/>
                    <a:pt x="110" y="54"/>
                    <a:pt x="105" y="56"/>
                  </a:cubicBezTo>
                  <a:cubicBezTo>
                    <a:pt x="9" y="85"/>
                    <a:pt x="9" y="85"/>
                    <a:pt x="9" y="85"/>
                  </a:cubicBezTo>
                  <a:cubicBezTo>
                    <a:pt x="6" y="86"/>
                    <a:pt x="4" y="88"/>
                    <a:pt x="3" y="90"/>
                  </a:cubicBezTo>
                  <a:cubicBezTo>
                    <a:pt x="1" y="92"/>
                    <a:pt x="1" y="95"/>
                    <a:pt x="1" y="97"/>
                  </a:cubicBezTo>
                  <a:cubicBezTo>
                    <a:pt x="2" y="98"/>
                    <a:pt x="2" y="98"/>
                    <a:pt x="2" y="99"/>
                  </a:cubicBezTo>
                  <a:cubicBezTo>
                    <a:pt x="3" y="102"/>
                    <a:pt x="3" y="102"/>
                    <a:pt x="3" y="102"/>
                  </a:cubicBezTo>
                  <a:cubicBezTo>
                    <a:pt x="4" y="106"/>
                    <a:pt x="7" y="109"/>
                    <a:pt x="10" y="110"/>
                  </a:cubicBezTo>
                  <a:cubicBezTo>
                    <a:pt x="11" y="110"/>
                    <a:pt x="11" y="110"/>
                    <a:pt x="11" y="110"/>
                  </a:cubicBezTo>
                  <a:cubicBezTo>
                    <a:pt x="23" y="113"/>
                    <a:pt x="23" y="113"/>
                    <a:pt x="23" y="113"/>
                  </a:cubicBezTo>
                  <a:cubicBezTo>
                    <a:pt x="26" y="114"/>
                    <a:pt x="28" y="118"/>
                    <a:pt x="28" y="121"/>
                  </a:cubicBezTo>
                  <a:cubicBezTo>
                    <a:pt x="28" y="138"/>
                    <a:pt x="28" y="138"/>
                    <a:pt x="28" y="138"/>
                  </a:cubicBezTo>
                  <a:cubicBezTo>
                    <a:pt x="17" y="138"/>
                    <a:pt x="17" y="138"/>
                    <a:pt x="17" y="138"/>
                  </a:cubicBezTo>
                  <a:cubicBezTo>
                    <a:pt x="17" y="187"/>
                    <a:pt x="17" y="187"/>
                    <a:pt x="17" y="187"/>
                  </a:cubicBezTo>
                  <a:cubicBezTo>
                    <a:pt x="17" y="199"/>
                    <a:pt x="28" y="208"/>
                    <a:pt x="40" y="209"/>
                  </a:cubicBezTo>
                  <a:cubicBezTo>
                    <a:pt x="40" y="214"/>
                    <a:pt x="40" y="214"/>
                    <a:pt x="40" y="214"/>
                  </a:cubicBezTo>
                  <a:cubicBezTo>
                    <a:pt x="40" y="220"/>
                    <a:pt x="46" y="225"/>
                    <a:pt x="53" y="225"/>
                  </a:cubicBezTo>
                  <a:cubicBezTo>
                    <a:pt x="74" y="225"/>
                    <a:pt x="74" y="225"/>
                    <a:pt x="74" y="225"/>
                  </a:cubicBezTo>
                  <a:cubicBezTo>
                    <a:pt x="81" y="225"/>
                    <a:pt x="87" y="220"/>
                    <a:pt x="87" y="214"/>
                  </a:cubicBezTo>
                  <a:cubicBezTo>
                    <a:pt x="87" y="209"/>
                    <a:pt x="87" y="209"/>
                    <a:pt x="87" y="209"/>
                  </a:cubicBezTo>
                  <a:cubicBezTo>
                    <a:pt x="99" y="208"/>
                    <a:pt x="110" y="199"/>
                    <a:pt x="110" y="187"/>
                  </a:cubicBezTo>
                  <a:cubicBezTo>
                    <a:pt x="110" y="138"/>
                    <a:pt x="110" y="138"/>
                    <a:pt x="110" y="138"/>
                  </a:cubicBezTo>
                  <a:cubicBezTo>
                    <a:pt x="99" y="138"/>
                    <a:pt x="99" y="138"/>
                    <a:pt x="99" y="138"/>
                  </a:cubicBezTo>
                  <a:cubicBezTo>
                    <a:pt x="99" y="125"/>
                    <a:pt x="99" y="125"/>
                    <a:pt x="99" y="125"/>
                  </a:cubicBezTo>
                  <a:cubicBezTo>
                    <a:pt x="99" y="122"/>
                    <a:pt x="101" y="118"/>
                    <a:pt x="104" y="117"/>
                  </a:cubicBezTo>
                  <a:cubicBezTo>
                    <a:pt x="112" y="115"/>
                    <a:pt x="112" y="115"/>
                    <a:pt x="112" y="115"/>
                  </a:cubicBezTo>
                  <a:cubicBezTo>
                    <a:pt x="118" y="113"/>
                    <a:pt x="122" y="107"/>
                    <a:pt x="120" y="101"/>
                  </a:cubicBezTo>
                  <a:close/>
                  <a:moveTo>
                    <a:pt x="43" y="98"/>
                  </a:moveTo>
                  <a:cubicBezTo>
                    <a:pt x="45" y="99"/>
                    <a:pt x="46" y="100"/>
                    <a:pt x="47" y="101"/>
                  </a:cubicBezTo>
                  <a:cubicBezTo>
                    <a:pt x="48" y="103"/>
                    <a:pt x="49" y="104"/>
                    <a:pt x="49" y="106"/>
                  </a:cubicBezTo>
                  <a:cubicBezTo>
                    <a:pt x="49" y="138"/>
                    <a:pt x="49" y="138"/>
                    <a:pt x="49" y="138"/>
                  </a:cubicBezTo>
                  <a:cubicBezTo>
                    <a:pt x="35" y="138"/>
                    <a:pt x="35" y="138"/>
                    <a:pt x="35" y="138"/>
                  </a:cubicBezTo>
                  <a:cubicBezTo>
                    <a:pt x="35" y="121"/>
                    <a:pt x="35" y="121"/>
                    <a:pt x="35" y="121"/>
                  </a:cubicBezTo>
                  <a:cubicBezTo>
                    <a:pt x="35" y="116"/>
                    <a:pt x="30" y="110"/>
                    <a:pt x="25" y="108"/>
                  </a:cubicBezTo>
                  <a:cubicBezTo>
                    <a:pt x="25" y="108"/>
                    <a:pt x="24" y="108"/>
                    <a:pt x="24" y="108"/>
                  </a:cubicBezTo>
                  <a:cubicBezTo>
                    <a:pt x="13" y="104"/>
                    <a:pt x="13" y="104"/>
                    <a:pt x="13" y="104"/>
                  </a:cubicBezTo>
                  <a:cubicBezTo>
                    <a:pt x="12" y="104"/>
                    <a:pt x="12" y="104"/>
                    <a:pt x="12" y="104"/>
                  </a:cubicBezTo>
                  <a:cubicBezTo>
                    <a:pt x="10" y="104"/>
                    <a:pt x="9" y="102"/>
                    <a:pt x="9" y="101"/>
                  </a:cubicBezTo>
                  <a:cubicBezTo>
                    <a:pt x="8" y="97"/>
                    <a:pt x="8" y="97"/>
                    <a:pt x="8" y="97"/>
                  </a:cubicBezTo>
                  <a:cubicBezTo>
                    <a:pt x="8" y="97"/>
                    <a:pt x="8" y="97"/>
                    <a:pt x="8" y="97"/>
                  </a:cubicBezTo>
                  <a:cubicBezTo>
                    <a:pt x="7" y="96"/>
                    <a:pt x="7" y="94"/>
                    <a:pt x="8" y="93"/>
                  </a:cubicBezTo>
                  <a:cubicBezTo>
                    <a:pt x="9" y="92"/>
                    <a:pt x="10" y="91"/>
                    <a:pt x="11" y="90"/>
                  </a:cubicBezTo>
                  <a:cubicBezTo>
                    <a:pt x="12" y="90"/>
                    <a:pt x="12" y="90"/>
                    <a:pt x="12" y="90"/>
                  </a:cubicBezTo>
                  <a:cubicBezTo>
                    <a:pt x="13" y="90"/>
                    <a:pt x="13" y="90"/>
                    <a:pt x="13" y="90"/>
                  </a:cubicBezTo>
                  <a:cubicBezTo>
                    <a:pt x="24" y="86"/>
                    <a:pt x="24" y="86"/>
                    <a:pt x="24" y="86"/>
                  </a:cubicBezTo>
                  <a:cubicBezTo>
                    <a:pt x="106" y="62"/>
                    <a:pt x="106" y="62"/>
                    <a:pt x="106" y="62"/>
                  </a:cubicBezTo>
                  <a:cubicBezTo>
                    <a:pt x="107" y="62"/>
                    <a:pt x="107" y="62"/>
                    <a:pt x="108" y="62"/>
                  </a:cubicBezTo>
                  <a:cubicBezTo>
                    <a:pt x="110" y="62"/>
                    <a:pt x="112" y="63"/>
                    <a:pt x="113" y="66"/>
                  </a:cubicBezTo>
                  <a:cubicBezTo>
                    <a:pt x="114" y="69"/>
                    <a:pt x="114" y="69"/>
                    <a:pt x="114" y="69"/>
                  </a:cubicBezTo>
                  <a:cubicBezTo>
                    <a:pt x="115" y="71"/>
                    <a:pt x="114" y="72"/>
                    <a:pt x="114" y="73"/>
                  </a:cubicBezTo>
                  <a:cubicBezTo>
                    <a:pt x="113" y="74"/>
                    <a:pt x="112" y="75"/>
                    <a:pt x="111" y="76"/>
                  </a:cubicBezTo>
                  <a:cubicBezTo>
                    <a:pt x="49" y="94"/>
                    <a:pt x="49" y="94"/>
                    <a:pt x="49" y="94"/>
                  </a:cubicBezTo>
                  <a:cubicBezTo>
                    <a:pt x="39" y="97"/>
                    <a:pt x="43" y="98"/>
                    <a:pt x="43" y="98"/>
                  </a:cubicBezTo>
                  <a:close/>
                  <a:moveTo>
                    <a:pt x="111" y="109"/>
                  </a:moveTo>
                  <a:cubicBezTo>
                    <a:pt x="103" y="111"/>
                    <a:pt x="103" y="111"/>
                    <a:pt x="103" y="111"/>
                  </a:cubicBezTo>
                  <a:cubicBezTo>
                    <a:pt x="97" y="113"/>
                    <a:pt x="92" y="119"/>
                    <a:pt x="92" y="125"/>
                  </a:cubicBezTo>
                  <a:cubicBezTo>
                    <a:pt x="92" y="138"/>
                    <a:pt x="92" y="138"/>
                    <a:pt x="92" y="138"/>
                  </a:cubicBezTo>
                  <a:cubicBezTo>
                    <a:pt x="78" y="138"/>
                    <a:pt x="78" y="138"/>
                    <a:pt x="78" y="138"/>
                  </a:cubicBezTo>
                  <a:cubicBezTo>
                    <a:pt x="78" y="110"/>
                    <a:pt x="78" y="110"/>
                    <a:pt x="78" y="110"/>
                  </a:cubicBezTo>
                  <a:cubicBezTo>
                    <a:pt x="78" y="107"/>
                    <a:pt x="81" y="103"/>
                    <a:pt x="84" y="102"/>
                  </a:cubicBezTo>
                  <a:cubicBezTo>
                    <a:pt x="106" y="96"/>
                    <a:pt x="106" y="96"/>
                    <a:pt x="106" y="96"/>
                  </a:cubicBezTo>
                  <a:cubicBezTo>
                    <a:pt x="109" y="95"/>
                    <a:pt x="112" y="96"/>
                    <a:pt x="113" y="99"/>
                  </a:cubicBezTo>
                  <a:cubicBezTo>
                    <a:pt x="114" y="103"/>
                    <a:pt x="114" y="103"/>
                    <a:pt x="114" y="103"/>
                  </a:cubicBezTo>
                  <a:cubicBezTo>
                    <a:pt x="115" y="106"/>
                    <a:pt x="113" y="109"/>
                    <a:pt x="111" y="109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827920"/>
              <a:endParaRPr lang="en-US" sz="3734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5" name="Green Tile"/>
          <p:cNvGrpSpPr/>
          <p:nvPr userDrawn="1"/>
        </p:nvGrpSpPr>
        <p:grpSpPr>
          <a:xfrm>
            <a:off x="5029453" y="9365656"/>
            <a:ext cx="2652450" cy="2651760"/>
            <a:chOff x="2514069" y="4682828"/>
            <a:chExt cx="1325880" cy="1325880"/>
          </a:xfrm>
        </p:grpSpPr>
        <p:sp>
          <p:nvSpPr>
            <p:cNvPr id="41" name="Rectangle 40"/>
            <p:cNvSpPr/>
            <p:nvPr/>
          </p:nvSpPr>
          <p:spPr bwMode="auto">
            <a:xfrm>
              <a:off x="2514069" y="4682828"/>
              <a:ext cx="1325880" cy="1325880"/>
            </a:xfrm>
            <a:prstGeom prst="rect">
              <a:avLst/>
            </a:prstGeom>
            <a:solidFill>
              <a:schemeClr val="accent5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vert="horz" wrap="square" lIns="91436" tIns="45718" rIns="91436" bIns="45718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1827392"/>
              <a:endParaRPr lang="en-US" sz="4534" dirty="0">
                <a:solidFill>
                  <a:srgbClr val="FFFFFF">
                    <a:lumMod val="20000"/>
                    <a:lumOff val="80000"/>
                    <a:alpha val="99000"/>
                  </a:srgbClr>
                </a:soli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46" name="Freeform 73"/>
            <p:cNvSpPr>
              <a:spLocks noEditPoints="1"/>
            </p:cNvSpPr>
            <p:nvPr userDrawn="1"/>
          </p:nvSpPr>
          <p:spPr bwMode="auto">
            <a:xfrm>
              <a:off x="2757463" y="5062311"/>
              <a:ext cx="839092" cy="702557"/>
            </a:xfrm>
            <a:custGeom>
              <a:avLst/>
              <a:gdLst>
                <a:gd name="T0" fmla="*/ 339 w 411"/>
                <a:gd name="T1" fmla="*/ 344 h 344"/>
                <a:gd name="T2" fmla="*/ 334 w 411"/>
                <a:gd name="T3" fmla="*/ 342 h 344"/>
                <a:gd name="T4" fmla="*/ 270 w 411"/>
                <a:gd name="T5" fmla="*/ 277 h 344"/>
                <a:gd name="T6" fmla="*/ 74 w 411"/>
                <a:gd name="T7" fmla="*/ 277 h 344"/>
                <a:gd name="T8" fmla="*/ 0 w 411"/>
                <a:gd name="T9" fmla="*/ 203 h 344"/>
                <a:gd name="T10" fmla="*/ 0 w 411"/>
                <a:gd name="T11" fmla="*/ 74 h 344"/>
                <a:gd name="T12" fmla="*/ 74 w 411"/>
                <a:gd name="T13" fmla="*/ 0 h 344"/>
                <a:gd name="T14" fmla="*/ 338 w 411"/>
                <a:gd name="T15" fmla="*/ 0 h 344"/>
                <a:gd name="T16" fmla="*/ 411 w 411"/>
                <a:gd name="T17" fmla="*/ 74 h 344"/>
                <a:gd name="T18" fmla="*/ 411 w 411"/>
                <a:gd name="T19" fmla="*/ 203 h 344"/>
                <a:gd name="T20" fmla="*/ 347 w 411"/>
                <a:gd name="T21" fmla="*/ 277 h 344"/>
                <a:gd name="T22" fmla="*/ 347 w 411"/>
                <a:gd name="T23" fmla="*/ 337 h 344"/>
                <a:gd name="T24" fmla="*/ 342 w 411"/>
                <a:gd name="T25" fmla="*/ 344 h 344"/>
                <a:gd name="T26" fmla="*/ 339 w 411"/>
                <a:gd name="T27" fmla="*/ 344 h 344"/>
                <a:gd name="T28" fmla="*/ 74 w 411"/>
                <a:gd name="T29" fmla="*/ 15 h 344"/>
                <a:gd name="T30" fmla="*/ 14 w 411"/>
                <a:gd name="T31" fmla="*/ 74 h 344"/>
                <a:gd name="T32" fmla="*/ 14 w 411"/>
                <a:gd name="T33" fmla="*/ 203 h 344"/>
                <a:gd name="T34" fmla="*/ 74 w 411"/>
                <a:gd name="T35" fmla="*/ 262 h 344"/>
                <a:gd name="T36" fmla="*/ 273 w 411"/>
                <a:gd name="T37" fmla="*/ 262 h 344"/>
                <a:gd name="T38" fmla="*/ 278 w 411"/>
                <a:gd name="T39" fmla="*/ 264 h 344"/>
                <a:gd name="T40" fmla="*/ 332 w 411"/>
                <a:gd name="T41" fmla="*/ 319 h 344"/>
                <a:gd name="T42" fmla="*/ 332 w 411"/>
                <a:gd name="T43" fmla="*/ 270 h 344"/>
                <a:gd name="T44" fmla="*/ 339 w 411"/>
                <a:gd name="T45" fmla="*/ 262 h 344"/>
                <a:gd name="T46" fmla="*/ 397 w 411"/>
                <a:gd name="T47" fmla="*/ 203 h 344"/>
                <a:gd name="T48" fmla="*/ 397 w 411"/>
                <a:gd name="T49" fmla="*/ 74 h 344"/>
                <a:gd name="T50" fmla="*/ 338 w 411"/>
                <a:gd name="T51" fmla="*/ 15 h 344"/>
                <a:gd name="T52" fmla="*/ 74 w 411"/>
                <a:gd name="T53" fmla="*/ 15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411" h="344">
                  <a:moveTo>
                    <a:pt x="339" y="344"/>
                  </a:moveTo>
                  <a:cubicBezTo>
                    <a:pt x="337" y="344"/>
                    <a:pt x="336" y="343"/>
                    <a:pt x="334" y="342"/>
                  </a:cubicBezTo>
                  <a:cubicBezTo>
                    <a:pt x="270" y="277"/>
                    <a:pt x="270" y="277"/>
                    <a:pt x="270" y="277"/>
                  </a:cubicBezTo>
                  <a:cubicBezTo>
                    <a:pt x="74" y="277"/>
                    <a:pt x="74" y="277"/>
                    <a:pt x="74" y="277"/>
                  </a:cubicBezTo>
                  <a:cubicBezTo>
                    <a:pt x="33" y="277"/>
                    <a:pt x="0" y="244"/>
                    <a:pt x="0" y="203"/>
                  </a:cubicBezTo>
                  <a:cubicBezTo>
                    <a:pt x="0" y="74"/>
                    <a:pt x="0" y="74"/>
                    <a:pt x="0" y="74"/>
                  </a:cubicBezTo>
                  <a:cubicBezTo>
                    <a:pt x="0" y="33"/>
                    <a:pt x="33" y="0"/>
                    <a:pt x="74" y="0"/>
                  </a:cubicBezTo>
                  <a:cubicBezTo>
                    <a:pt x="338" y="0"/>
                    <a:pt x="338" y="0"/>
                    <a:pt x="338" y="0"/>
                  </a:cubicBezTo>
                  <a:cubicBezTo>
                    <a:pt x="378" y="0"/>
                    <a:pt x="411" y="33"/>
                    <a:pt x="411" y="74"/>
                  </a:cubicBezTo>
                  <a:cubicBezTo>
                    <a:pt x="411" y="203"/>
                    <a:pt x="411" y="203"/>
                    <a:pt x="411" y="203"/>
                  </a:cubicBezTo>
                  <a:cubicBezTo>
                    <a:pt x="411" y="242"/>
                    <a:pt x="384" y="273"/>
                    <a:pt x="347" y="277"/>
                  </a:cubicBezTo>
                  <a:cubicBezTo>
                    <a:pt x="347" y="337"/>
                    <a:pt x="347" y="337"/>
                    <a:pt x="347" y="337"/>
                  </a:cubicBezTo>
                  <a:cubicBezTo>
                    <a:pt x="347" y="340"/>
                    <a:pt x="345" y="342"/>
                    <a:pt x="342" y="344"/>
                  </a:cubicBezTo>
                  <a:cubicBezTo>
                    <a:pt x="341" y="344"/>
                    <a:pt x="340" y="344"/>
                    <a:pt x="339" y="344"/>
                  </a:cubicBezTo>
                  <a:close/>
                  <a:moveTo>
                    <a:pt x="74" y="15"/>
                  </a:moveTo>
                  <a:cubicBezTo>
                    <a:pt x="41" y="15"/>
                    <a:pt x="14" y="41"/>
                    <a:pt x="14" y="74"/>
                  </a:cubicBezTo>
                  <a:cubicBezTo>
                    <a:pt x="14" y="203"/>
                    <a:pt x="14" y="203"/>
                    <a:pt x="14" y="203"/>
                  </a:cubicBezTo>
                  <a:cubicBezTo>
                    <a:pt x="14" y="236"/>
                    <a:pt x="41" y="262"/>
                    <a:pt x="74" y="262"/>
                  </a:cubicBezTo>
                  <a:cubicBezTo>
                    <a:pt x="273" y="262"/>
                    <a:pt x="273" y="262"/>
                    <a:pt x="273" y="262"/>
                  </a:cubicBezTo>
                  <a:cubicBezTo>
                    <a:pt x="275" y="262"/>
                    <a:pt x="277" y="263"/>
                    <a:pt x="278" y="264"/>
                  </a:cubicBezTo>
                  <a:cubicBezTo>
                    <a:pt x="332" y="319"/>
                    <a:pt x="332" y="319"/>
                    <a:pt x="332" y="319"/>
                  </a:cubicBezTo>
                  <a:cubicBezTo>
                    <a:pt x="332" y="270"/>
                    <a:pt x="332" y="270"/>
                    <a:pt x="332" y="270"/>
                  </a:cubicBezTo>
                  <a:cubicBezTo>
                    <a:pt x="332" y="266"/>
                    <a:pt x="335" y="262"/>
                    <a:pt x="339" y="262"/>
                  </a:cubicBezTo>
                  <a:cubicBezTo>
                    <a:pt x="371" y="262"/>
                    <a:pt x="397" y="236"/>
                    <a:pt x="397" y="203"/>
                  </a:cubicBezTo>
                  <a:cubicBezTo>
                    <a:pt x="397" y="74"/>
                    <a:pt x="397" y="74"/>
                    <a:pt x="397" y="74"/>
                  </a:cubicBezTo>
                  <a:cubicBezTo>
                    <a:pt x="397" y="41"/>
                    <a:pt x="370" y="15"/>
                    <a:pt x="338" y="15"/>
                  </a:cubicBezTo>
                  <a:lnTo>
                    <a:pt x="74" y="1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827920"/>
              <a:endParaRPr lang="en-US" sz="3734" dirty="0">
                <a:solidFill>
                  <a:srgbClr val="FFFFFF"/>
                </a:solidFill>
              </a:endParaRPr>
            </a:p>
          </p:txBody>
        </p:sp>
      </p:grpSp>
      <p:sp useBgFill="1">
        <p:nvSpPr>
          <p:cNvPr id="43" name="Top Mask"/>
          <p:cNvSpPr/>
          <p:nvPr userDrawn="1"/>
        </p:nvSpPr>
        <p:spPr bwMode="auto">
          <a:xfrm>
            <a:off x="2" y="3"/>
            <a:ext cx="24384000" cy="3028950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792" tIns="91398" rIns="182792" bIns="9139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827392"/>
            <a:endParaRPr lang="en-US" sz="4534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ea typeface="Segoe UI" pitchFamily="34" charset="0"/>
              <a:cs typeface="Segoe UI" pitchFamily="34" charset="0"/>
            </a:endParaRPr>
          </a:p>
        </p:txBody>
      </p:sp>
      <p:sp useBgFill="1">
        <p:nvSpPr>
          <p:cNvPr id="44" name="Right Mask"/>
          <p:cNvSpPr/>
          <p:nvPr userDrawn="1"/>
        </p:nvSpPr>
        <p:spPr bwMode="auto">
          <a:xfrm>
            <a:off x="22351501" y="3261639"/>
            <a:ext cx="2032530" cy="8309966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792" tIns="91398" rIns="182792" bIns="9139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827392"/>
            <a:endParaRPr lang="en-US" sz="4534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365085" y="6463950"/>
            <a:ext cx="13440102" cy="2464928"/>
          </a:xfrm>
        </p:spPr>
        <p:txBody>
          <a:bodyPr anchor="ctr">
            <a:noAutofit/>
          </a:bodyPr>
          <a:lstStyle>
            <a:lvl1pPr algn="l" defTabSz="182792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8000" b="1" kern="1200" cap="none" spc="-200" baseline="0" dirty="0">
                <a:ln w="3175">
                  <a:noFill/>
                </a:ln>
                <a:solidFill>
                  <a:schemeClr val="accent1">
                    <a:alpha val="99000"/>
                  </a:schemeClr>
                </a:soli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365086" y="10058431"/>
            <a:ext cx="13744984" cy="926510"/>
          </a:xfrm>
        </p:spPr>
        <p:txBody>
          <a:bodyPr>
            <a:noAutofit/>
          </a:bodyPr>
          <a:lstStyle>
            <a:lvl1pPr marL="0" indent="0" algn="l" defTabSz="1827920" rtl="0" eaLnBrk="1" latinLnBrk="0" hangingPunct="1">
              <a:lnSpc>
                <a:spcPct val="90000"/>
              </a:lnSpc>
              <a:spcBef>
                <a:spcPts val="0"/>
              </a:spcBef>
              <a:buSzPct val="105000"/>
              <a:buFontTx/>
              <a:buNone/>
              <a:defRPr lang="en-US" sz="3200" kern="1200" dirty="0">
                <a:solidFill>
                  <a:schemeClr val="bg1">
                    <a:alpha val="99000"/>
                  </a:schemeClr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9139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8279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7418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36558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45697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5483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63977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73116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 useBgFill="1">
        <p:nvSpPr>
          <p:cNvPr id="45" name="Bottom Mask"/>
          <p:cNvSpPr/>
          <p:nvPr userDrawn="1"/>
        </p:nvSpPr>
        <p:spPr bwMode="auto">
          <a:xfrm>
            <a:off x="5" y="12020553"/>
            <a:ext cx="24384002" cy="1695450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792" tIns="91398" rIns="182792" bIns="9139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827392"/>
            <a:endParaRPr lang="en-US" sz="4534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93562847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emo, &quot;special&quot; slid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Tile"/>
          <p:cNvSpPr/>
          <p:nvPr userDrawn="1"/>
        </p:nvSpPr>
        <p:spPr bwMode="auto">
          <a:xfrm>
            <a:off x="8022143" y="6374275"/>
            <a:ext cx="14329334" cy="5646278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182792" tIns="91398" rIns="182792" bIns="91398" numCol="1" rtlCol="0" anchor="ctr" anchorCtr="0" compatLnSpc="1">
            <a:prstTxWarp prst="textNoShape">
              <a:avLst/>
            </a:prstTxWarp>
          </a:bodyPr>
          <a:lstStyle/>
          <a:p>
            <a:pPr algn="ctr" defTabSz="1827392"/>
            <a:endParaRPr lang="en-US" sz="4534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Arrow Bar"/>
          <p:cNvSpPr/>
          <p:nvPr userDrawn="1"/>
        </p:nvSpPr>
        <p:spPr bwMode="auto">
          <a:xfrm>
            <a:off x="8022143" y="3028950"/>
            <a:ext cx="14329334" cy="2999232"/>
          </a:xfrm>
          <a:prstGeom prst="rect">
            <a:avLst/>
          </a:prstGeom>
          <a:solidFill>
            <a:schemeClr val="accent6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182792" tIns="91398" rIns="182792" bIns="91398" numCol="1" rtlCol="0" anchor="ctr" anchorCtr="0" compatLnSpc="1">
            <a:prstTxWarp prst="textNoShape">
              <a:avLst/>
            </a:prstTxWarp>
          </a:bodyPr>
          <a:lstStyle/>
          <a:p>
            <a:pPr algn="ctr" defTabSz="1827392"/>
            <a:endParaRPr lang="en-US" sz="4534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8360281" y="3173174"/>
            <a:ext cx="11102374" cy="2757288"/>
          </a:xfrm>
        </p:spPr>
        <p:txBody>
          <a:bodyPr anchor="ctr" anchorCtr="0">
            <a:noAutofit/>
            <a:scene3d>
              <a:camera prst="orthographicFront"/>
              <a:lightRig rig="flat" dir="t"/>
            </a:scene3d>
            <a:sp3d>
              <a:contourClr>
                <a:schemeClr val="tx2"/>
              </a:contourClr>
            </a:sp3d>
          </a:bodyPr>
          <a:lstStyle>
            <a:lvl1pPr marL="0" indent="0" algn="l" defTabSz="1827920" rtl="0" eaLnBrk="1" latinLnBrk="0" hangingPunct="1">
              <a:lnSpc>
                <a:spcPct val="90000"/>
              </a:lnSpc>
              <a:spcBef>
                <a:spcPct val="0"/>
              </a:spcBef>
              <a:buFont typeface="Arial" pitchFamily="34" charset="0"/>
              <a:buNone/>
              <a:defRPr lang="en-US" sz="10934" b="1" kern="1200" cap="none" spc="-200" baseline="0" dirty="0" smtClean="0">
                <a:ln w="3175">
                  <a:noFill/>
                </a:ln>
                <a:solidFill>
                  <a:schemeClr val="tx1">
                    <a:alpha val="99000"/>
                  </a:schemeClr>
                </a:soli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Demo</a:t>
            </a:r>
          </a:p>
        </p:txBody>
      </p:sp>
      <p:sp useBgFill="1">
        <p:nvSpPr>
          <p:cNvPr id="9" name="Left Mask"/>
          <p:cNvSpPr/>
          <p:nvPr userDrawn="1"/>
        </p:nvSpPr>
        <p:spPr bwMode="auto">
          <a:xfrm>
            <a:off x="-1" y="3028952"/>
            <a:ext cx="8022142" cy="2999232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792" tIns="91398" rIns="182792" bIns="9139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827392"/>
            <a:endParaRPr lang="en-US" sz="4534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360290" y="10363233"/>
            <a:ext cx="13224536" cy="923330"/>
          </a:xfrm>
        </p:spPr>
        <p:txBody>
          <a:bodyPr>
            <a:noAutofit/>
          </a:bodyPr>
          <a:lstStyle>
            <a:lvl1pPr marL="0" indent="0" algn="l" defTabSz="1827920" rtl="0" eaLnBrk="1" latinLnBrk="0" hangingPunct="1">
              <a:lnSpc>
                <a:spcPct val="90000"/>
              </a:lnSpc>
              <a:spcBef>
                <a:spcPts val="0"/>
              </a:spcBef>
              <a:buSzPct val="105000"/>
              <a:buFontTx/>
              <a:buNone/>
              <a:defRPr lang="en-US" sz="3200" kern="1200" dirty="0">
                <a:solidFill>
                  <a:schemeClr val="bg1">
                    <a:alpha val="99000"/>
                  </a:schemeClr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9139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8279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7418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36558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45697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5483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63977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73116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Circle Arrow"/>
          <p:cNvSpPr>
            <a:spLocks noEditPoints="1"/>
          </p:cNvSpPr>
          <p:nvPr userDrawn="1"/>
        </p:nvSpPr>
        <p:spPr bwMode="auto">
          <a:xfrm rot="5400000">
            <a:off x="19901879" y="3745895"/>
            <a:ext cx="1682750" cy="1683190"/>
          </a:xfrm>
          <a:custGeom>
            <a:avLst/>
            <a:gdLst>
              <a:gd name="T0" fmla="*/ 112 w 224"/>
              <a:gd name="T1" fmla="*/ 0 h 224"/>
              <a:gd name="T2" fmla="*/ 0 w 224"/>
              <a:gd name="T3" fmla="*/ 112 h 224"/>
              <a:gd name="T4" fmla="*/ 112 w 224"/>
              <a:gd name="T5" fmla="*/ 224 h 224"/>
              <a:gd name="T6" fmla="*/ 224 w 224"/>
              <a:gd name="T7" fmla="*/ 112 h 224"/>
              <a:gd name="T8" fmla="*/ 112 w 224"/>
              <a:gd name="T9" fmla="*/ 0 h 224"/>
              <a:gd name="T10" fmla="*/ 112 w 224"/>
              <a:gd name="T11" fmla="*/ 216 h 224"/>
              <a:gd name="T12" fmla="*/ 8 w 224"/>
              <a:gd name="T13" fmla="*/ 112 h 224"/>
              <a:gd name="T14" fmla="*/ 112 w 224"/>
              <a:gd name="T15" fmla="*/ 8 h 224"/>
              <a:gd name="T16" fmla="*/ 216 w 224"/>
              <a:gd name="T17" fmla="*/ 112 h 224"/>
              <a:gd name="T18" fmla="*/ 112 w 224"/>
              <a:gd name="T19" fmla="*/ 216 h 224"/>
              <a:gd name="T20" fmla="*/ 161 w 224"/>
              <a:gd name="T21" fmla="*/ 94 h 224"/>
              <a:gd name="T22" fmla="*/ 169 w 224"/>
              <a:gd name="T23" fmla="*/ 94 h 224"/>
              <a:gd name="T24" fmla="*/ 169 w 224"/>
              <a:gd name="T25" fmla="*/ 166 h 224"/>
              <a:gd name="T26" fmla="*/ 165 w 224"/>
              <a:gd name="T27" fmla="*/ 170 h 224"/>
              <a:gd name="T28" fmla="*/ 93 w 224"/>
              <a:gd name="T29" fmla="*/ 170 h 224"/>
              <a:gd name="T30" fmla="*/ 93 w 224"/>
              <a:gd name="T31" fmla="*/ 162 h 224"/>
              <a:gd name="T32" fmla="*/ 156 w 224"/>
              <a:gd name="T33" fmla="*/ 162 h 224"/>
              <a:gd name="T34" fmla="*/ 58 w 224"/>
              <a:gd name="T35" fmla="*/ 65 h 224"/>
              <a:gd name="T36" fmla="*/ 64 w 224"/>
              <a:gd name="T37" fmla="*/ 59 h 224"/>
              <a:gd name="T38" fmla="*/ 161 w 224"/>
              <a:gd name="T39" fmla="*/ 156 h 224"/>
              <a:gd name="T40" fmla="*/ 161 w 224"/>
              <a:gd name="T41" fmla="*/ 94 h 2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224" h="224">
                <a:moveTo>
                  <a:pt x="112" y="0"/>
                </a:moveTo>
                <a:cubicBezTo>
                  <a:pt x="50" y="0"/>
                  <a:pt x="0" y="50"/>
                  <a:pt x="0" y="112"/>
                </a:cubicBezTo>
                <a:cubicBezTo>
                  <a:pt x="0" y="174"/>
                  <a:pt x="50" y="224"/>
                  <a:pt x="112" y="224"/>
                </a:cubicBezTo>
                <a:cubicBezTo>
                  <a:pt x="173" y="224"/>
                  <a:pt x="224" y="174"/>
                  <a:pt x="224" y="112"/>
                </a:cubicBezTo>
                <a:cubicBezTo>
                  <a:pt x="224" y="50"/>
                  <a:pt x="173" y="0"/>
                  <a:pt x="112" y="0"/>
                </a:cubicBezTo>
                <a:close/>
                <a:moveTo>
                  <a:pt x="112" y="216"/>
                </a:moveTo>
                <a:cubicBezTo>
                  <a:pt x="54" y="216"/>
                  <a:pt x="8" y="169"/>
                  <a:pt x="8" y="112"/>
                </a:cubicBezTo>
                <a:cubicBezTo>
                  <a:pt x="8" y="54"/>
                  <a:pt x="54" y="8"/>
                  <a:pt x="112" y="8"/>
                </a:cubicBezTo>
                <a:cubicBezTo>
                  <a:pt x="169" y="8"/>
                  <a:pt x="216" y="54"/>
                  <a:pt x="216" y="112"/>
                </a:cubicBezTo>
                <a:cubicBezTo>
                  <a:pt x="216" y="169"/>
                  <a:pt x="169" y="216"/>
                  <a:pt x="112" y="216"/>
                </a:cubicBezTo>
                <a:close/>
                <a:moveTo>
                  <a:pt x="161" y="94"/>
                </a:moveTo>
                <a:cubicBezTo>
                  <a:pt x="169" y="94"/>
                  <a:pt x="169" y="94"/>
                  <a:pt x="169" y="94"/>
                </a:cubicBezTo>
                <a:cubicBezTo>
                  <a:pt x="169" y="166"/>
                  <a:pt x="169" y="166"/>
                  <a:pt x="169" y="166"/>
                </a:cubicBezTo>
                <a:cubicBezTo>
                  <a:pt x="169" y="168"/>
                  <a:pt x="168" y="170"/>
                  <a:pt x="165" y="170"/>
                </a:cubicBezTo>
                <a:cubicBezTo>
                  <a:pt x="93" y="170"/>
                  <a:pt x="93" y="170"/>
                  <a:pt x="93" y="170"/>
                </a:cubicBezTo>
                <a:cubicBezTo>
                  <a:pt x="93" y="162"/>
                  <a:pt x="93" y="162"/>
                  <a:pt x="93" y="162"/>
                </a:cubicBezTo>
                <a:cubicBezTo>
                  <a:pt x="156" y="162"/>
                  <a:pt x="156" y="162"/>
                  <a:pt x="156" y="162"/>
                </a:cubicBezTo>
                <a:cubicBezTo>
                  <a:pt x="58" y="65"/>
                  <a:pt x="58" y="65"/>
                  <a:pt x="58" y="65"/>
                </a:cubicBezTo>
                <a:cubicBezTo>
                  <a:pt x="64" y="59"/>
                  <a:pt x="64" y="59"/>
                  <a:pt x="64" y="59"/>
                </a:cubicBezTo>
                <a:cubicBezTo>
                  <a:pt x="161" y="156"/>
                  <a:pt x="161" y="156"/>
                  <a:pt x="161" y="156"/>
                </a:cubicBezTo>
                <a:lnTo>
                  <a:pt x="161" y="94"/>
                </a:lnTo>
                <a:close/>
              </a:path>
            </a:pathLst>
          </a:cu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txBody>
          <a:bodyPr vert="horz" wrap="square" lIns="182800" tIns="91402" rIns="182800" bIns="91402" numCol="1" anchor="t" anchorCtr="0" compatLnSpc="1">
            <a:prstTxWarp prst="textNoShape">
              <a:avLst/>
            </a:prstTxWarp>
          </a:bodyPr>
          <a:lstStyle/>
          <a:p>
            <a:pPr defTabSz="1827920"/>
            <a:endParaRPr lang="en-US" sz="3734" dirty="0">
              <a:solidFill>
                <a:srgbClr val="FFFFFF"/>
              </a:solidFill>
            </a:endParaRPr>
          </a:p>
        </p:txBody>
      </p:sp>
      <p:sp>
        <p:nvSpPr>
          <p:cNvPr id="11" name="TechEd Tile"/>
          <p:cNvSpPr/>
          <p:nvPr userDrawn="1"/>
        </p:nvSpPr>
        <p:spPr bwMode="auto">
          <a:xfrm>
            <a:off x="2044678" y="3028950"/>
            <a:ext cx="5652464" cy="2999232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182792" tIns="91398" rIns="182792" bIns="91398" numCol="1" rtlCol="0" anchor="ctr" anchorCtr="0" compatLnSpc="1">
            <a:prstTxWarp prst="textNoShape">
              <a:avLst/>
            </a:prstTxWarp>
          </a:bodyPr>
          <a:lstStyle/>
          <a:p>
            <a:pPr algn="ctr" defTabSz="1827392"/>
            <a:endParaRPr lang="en-US" sz="4534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2" name="TechEd Logo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530"/>
          <a:stretch/>
        </p:blipFill>
        <p:spPr bwMode="auto">
          <a:xfrm>
            <a:off x="2803366" y="3484990"/>
            <a:ext cx="4135088" cy="20871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 useBgFill="1">
        <p:nvSpPr>
          <p:cNvPr id="13" name="Top Mask"/>
          <p:cNvSpPr/>
          <p:nvPr userDrawn="1"/>
        </p:nvSpPr>
        <p:spPr bwMode="auto">
          <a:xfrm>
            <a:off x="2" y="3"/>
            <a:ext cx="24384000" cy="3028950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792" tIns="91398" rIns="182792" bIns="9139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827392"/>
            <a:endParaRPr lang="en-US" sz="4534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ea typeface="Segoe UI" pitchFamily="34" charset="0"/>
              <a:cs typeface="Segoe UI" pitchFamily="34" charset="0"/>
            </a:endParaRPr>
          </a:p>
        </p:txBody>
      </p:sp>
      <p:sp useBgFill="1">
        <p:nvSpPr>
          <p:cNvPr id="14" name="Right Mask"/>
          <p:cNvSpPr/>
          <p:nvPr userDrawn="1"/>
        </p:nvSpPr>
        <p:spPr bwMode="auto">
          <a:xfrm>
            <a:off x="22351501" y="3261639"/>
            <a:ext cx="2032530" cy="8309966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792" tIns="91398" rIns="182792" bIns="9139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827392"/>
            <a:endParaRPr lang="en-US" sz="4534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16" name="Demo Tile"/>
          <p:cNvGrpSpPr/>
          <p:nvPr userDrawn="1"/>
        </p:nvGrpSpPr>
        <p:grpSpPr>
          <a:xfrm>
            <a:off x="2035758" y="6375774"/>
            <a:ext cx="5655976" cy="5654504"/>
            <a:chOff x="1022073" y="-1135906"/>
            <a:chExt cx="2827252" cy="2827252"/>
          </a:xfrm>
        </p:grpSpPr>
        <p:sp>
          <p:nvSpPr>
            <p:cNvPr id="17" name="Rectangle 16"/>
            <p:cNvSpPr/>
            <p:nvPr/>
          </p:nvSpPr>
          <p:spPr bwMode="auto">
            <a:xfrm>
              <a:off x="1022073" y="-1135906"/>
              <a:ext cx="2827252" cy="2827252"/>
            </a:xfrm>
            <a:prstGeom prst="rect">
              <a:avLst/>
            </a:prstGeom>
            <a:solidFill>
              <a:schemeClr val="accent6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vert="horz" wrap="square" lIns="91436" tIns="45718" rIns="91436" bIns="45718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1827392"/>
              <a:endParaRPr lang="en-US" sz="4534" dirty="0">
                <a:solidFill>
                  <a:srgbClr val="FFFFFF">
                    <a:lumMod val="20000"/>
                    <a:lumOff val="80000"/>
                    <a:alpha val="99000"/>
                  </a:srgbClr>
                </a:soli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8" name="Light bulb Icon"/>
            <p:cNvSpPr>
              <a:spLocks noEditPoints="1"/>
            </p:cNvSpPr>
            <p:nvPr/>
          </p:nvSpPr>
          <p:spPr bwMode="auto">
            <a:xfrm>
              <a:off x="1945077" y="-620805"/>
              <a:ext cx="979488" cy="1797050"/>
            </a:xfrm>
            <a:custGeom>
              <a:avLst/>
              <a:gdLst>
                <a:gd name="T0" fmla="*/ 18 w 122"/>
                <a:gd name="T1" fmla="*/ 137 h 224"/>
                <a:gd name="T2" fmla="*/ 105 w 122"/>
                <a:gd name="T3" fmla="*/ 22 h 224"/>
                <a:gd name="T4" fmla="*/ 119 w 122"/>
                <a:gd name="T5" fmla="*/ 29 h 224"/>
                <a:gd name="T6" fmla="*/ 119 w 122"/>
                <a:gd name="T7" fmla="*/ 41 h 224"/>
                <a:gd name="T8" fmla="*/ 17 w 122"/>
                <a:gd name="T9" fmla="*/ 75 h 224"/>
                <a:gd name="T10" fmla="*/ 14 w 122"/>
                <a:gd name="T11" fmla="*/ 76 h 224"/>
                <a:gd name="T12" fmla="*/ 2 w 122"/>
                <a:gd name="T13" fmla="*/ 64 h 224"/>
                <a:gd name="T14" fmla="*/ 10 w 122"/>
                <a:gd name="T15" fmla="*/ 50 h 224"/>
                <a:gd name="T16" fmla="*/ 8 w 122"/>
                <a:gd name="T17" fmla="*/ 58 h 224"/>
                <a:gd name="T18" fmla="*/ 9 w 122"/>
                <a:gd name="T19" fmla="*/ 66 h 224"/>
                <a:gd name="T20" fmla="*/ 14 w 122"/>
                <a:gd name="T21" fmla="*/ 70 h 224"/>
                <a:gd name="T22" fmla="*/ 111 w 122"/>
                <a:gd name="T23" fmla="*/ 41 h 224"/>
                <a:gd name="T24" fmla="*/ 115 w 122"/>
                <a:gd name="T25" fmla="*/ 35 h 224"/>
                <a:gd name="T26" fmla="*/ 108 w 122"/>
                <a:gd name="T27" fmla="*/ 27 h 224"/>
                <a:gd name="T28" fmla="*/ 12 w 122"/>
                <a:gd name="T29" fmla="*/ 56 h 224"/>
                <a:gd name="T30" fmla="*/ 10 w 122"/>
                <a:gd name="T31" fmla="*/ 16 h 224"/>
                <a:gd name="T32" fmla="*/ 73 w 122"/>
                <a:gd name="T33" fmla="*/ 9 h 224"/>
                <a:gd name="T34" fmla="*/ 67 w 122"/>
                <a:gd name="T35" fmla="*/ 27 h 224"/>
                <a:gd name="T36" fmla="*/ 14 w 122"/>
                <a:gd name="T37" fmla="*/ 42 h 224"/>
                <a:gd name="T38" fmla="*/ 2 w 122"/>
                <a:gd name="T39" fmla="*/ 31 h 224"/>
                <a:gd name="T40" fmla="*/ 9 w 122"/>
                <a:gd name="T41" fmla="*/ 32 h 224"/>
                <a:gd name="T42" fmla="*/ 16 w 122"/>
                <a:gd name="T43" fmla="*/ 36 h 224"/>
                <a:gd name="T44" fmla="*/ 69 w 122"/>
                <a:gd name="T45" fmla="*/ 14 h 224"/>
                <a:gd name="T46" fmla="*/ 63 w 122"/>
                <a:gd name="T47" fmla="*/ 7 h 224"/>
                <a:gd name="T48" fmla="*/ 12 w 122"/>
                <a:gd name="T49" fmla="*/ 22 h 224"/>
                <a:gd name="T50" fmla="*/ 113 w 122"/>
                <a:gd name="T51" fmla="*/ 114 h 224"/>
                <a:gd name="T52" fmla="*/ 99 w 122"/>
                <a:gd name="T53" fmla="*/ 124 h 224"/>
                <a:gd name="T54" fmla="*/ 110 w 122"/>
                <a:gd name="T55" fmla="*/ 137 h 224"/>
                <a:gd name="T56" fmla="*/ 87 w 122"/>
                <a:gd name="T57" fmla="*/ 208 h 224"/>
                <a:gd name="T58" fmla="*/ 74 w 122"/>
                <a:gd name="T59" fmla="*/ 224 h 224"/>
                <a:gd name="T60" fmla="*/ 41 w 122"/>
                <a:gd name="T61" fmla="*/ 213 h 224"/>
                <a:gd name="T62" fmla="*/ 18 w 122"/>
                <a:gd name="T63" fmla="*/ 187 h 224"/>
                <a:gd name="T64" fmla="*/ 29 w 122"/>
                <a:gd name="T65" fmla="*/ 137 h 224"/>
                <a:gd name="T66" fmla="*/ 23 w 122"/>
                <a:gd name="T67" fmla="*/ 113 h 224"/>
                <a:gd name="T68" fmla="*/ 10 w 122"/>
                <a:gd name="T69" fmla="*/ 109 h 224"/>
                <a:gd name="T70" fmla="*/ 2 w 122"/>
                <a:gd name="T71" fmla="*/ 98 h 224"/>
                <a:gd name="T72" fmla="*/ 3 w 122"/>
                <a:gd name="T73" fmla="*/ 89 h 224"/>
                <a:gd name="T74" fmla="*/ 105 w 122"/>
                <a:gd name="T75" fmla="*/ 55 h 224"/>
                <a:gd name="T76" fmla="*/ 120 w 122"/>
                <a:gd name="T77" fmla="*/ 66 h 224"/>
                <a:gd name="T78" fmla="*/ 113 w 122"/>
                <a:gd name="T79" fmla="*/ 81 h 224"/>
                <a:gd name="T80" fmla="*/ 56 w 122"/>
                <a:gd name="T81" fmla="*/ 105 h 224"/>
                <a:gd name="T82" fmla="*/ 72 w 122"/>
                <a:gd name="T83" fmla="*/ 137 h 224"/>
                <a:gd name="T84" fmla="*/ 82 w 122"/>
                <a:gd name="T85" fmla="*/ 95 h 224"/>
                <a:gd name="T86" fmla="*/ 119 w 122"/>
                <a:gd name="T87" fmla="*/ 96 h 224"/>
                <a:gd name="T88" fmla="*/ 113 w 122"/>
                <a:gd name="T89" fmla="*/ 114 h 224"/>
                <a:gd name="T90" fmla="*/ 111 w 122"/>
                <a:gd name="T91" fmla="*/ 75 h 224"/>
                <a:gd name="T92" fmla="*/ 115 w 122"/>
                <a:gd name="T93" fmla="*/ 68 h 224"/>
                <a:gd name="T94" fmla="*/ 108 w 122"/>
                <a:gd name="T95" fmla="*/ 61 h 224"/>
                <a:gd name="T96" fmla="*/ 25 w 122"/>
                <a:gd name="T97" fmla="*/ 86 h 224"/>
                <a:gd name="T98" fmla="*/ 12 w 122"/>
                <a:gd name="T99" fmla="*/ 89 h 224"/>
                <a:gd name="T100" fmla="*/ 8 w 122"/>
                <a:gd name="T101" fmla="*/ 92 h 224"/>
                <a:gd name="T102" fmla="*/ 8 w 122"/>
                <a:gd name="T103" fmla="*/ 96 h 224"/>
                <a:gd name="T104" fmla="*/ 12 w 122"/>
                <a:gd name="T105" fmla="*/ 103 h 224"/>
                <a:gd name="T106" fmla="*/ 25 w 122"/>
                <a:gd name="T107" fmla="*/ 107 h 224"/>
                <a:gd name="T108" fmla="*/ 35 w 122"/>
                <a:gd name="T109" fmla="*/ 120 h 224"/>
                <a:gd name="T110" fmla="*/ 50 w 122"/>
                <a:gd name="T111" fmla="*/ 137 h 224"/>
                <a:gd name="T112" fmla="*/ 48 w 122"/>
                <a:gd name="T113" fmla="*/ 100 h 224"/>
                <a:gd name="T114" fmla="*/ 49 w 122"/>
                <a:gd name="T115" fmla="*/ 93 h 224"/>
                <a:gd name="T116" fmla="*/ 113 w 122"/>
                <a:gd name="T117" fmla="*/ 98 h 224"/>
                <a:gd name="T118" fmla="*/ 84 w 122"/>
                <a:gd name="T119" fmla="*/ 101 h 224"/>
                <a:gd name="T120" fmla="*/ 78 w 122"/>
                <a:gd name="T121" fmla="*/ 137 h 224"/>
                <a:gd name="T122" fmla="*/ 93 w 122"/>
                <a:gd name="T123" fmla="*/ 124 h 224"/>
                <a:gd name="T124" fmla="*/ 111 w 122"/>
                <a:gd name="T125" fmla="*/ 108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22" h="224">
                  <a:moveTo>
                    <a:pt x="18" y="137"/>
                  </a:moveTo>
                  <a:cubicBezTo>
                    <a:pt x="18" y="137"/>
                    <a:pt x="18" y="137"/>
                    <a:pt x="18" y="137"/>
                  </a:cubicBezTo>
                  <a:moveTo>
                    <a:pt x="10" y="50"/>
                  </a:moveTo>
                  <a:cubicBezTo>
                    <a:pt x="105" y="22"/>
                    <a:pt x="105" y="22"/>
                    <a:pt x="105" y="22"/>
                  </a:cubicBezTo>
                  <a:cubicBezTo>
                    <a:pt x="106" y="21"/>
                    <a:pt x="107" y="21"/>
                    <a:pt x="108" y="21"/>
                  </a:cubicBezTo>
                  <a:cubicBezTo>
                    <a:pt x="113" y="21"/>
                    <a:pt x="118" y="24"/>
                    <a:pt x="119" y="29"/>
                  </a:cubicBezTo>
                  <a:cubicBezTo>
                    <a:pt x="120" y="33"/>
                    <a:pt x="120" y="33"/>
                    <a:pt x="120" y="33"/>
                  </a:cubicBezTo>
                  <a:cubicBezTo>
                    <a:pt x="121" y="36"/>
                    <a:pt x="121" y="39"/>
                    <a:pt x="119" y="41"/>
                  </a:cubicBezTo>
                  <a:cubicBezTo>
                    <a:pt x="118" y="44"/>
                    <a:pt x="116" y="46"/>
                    <a:pt x="113" y="47"/>
                  </a:cubicBezTo>
                  <a:cubicBezTo>
                    <a:pt x="17" y="75"/>
                    <a:pt x="17" y="75"/>
                    <a:pt x="17" y="75"/>
                  </a:cubicBezTo>
                  <a:cubicBezTo>
                    <a:pt x="16" y="76"/>
                    <a:pt x="15" y="76"/>
                    <a:pt x="14" y="76"/>
                  </a:cubicBezTo>
                  <a:cubicBezTo>
                    <a:pt x="14" y="76"/>
                    <a:pt x="14" y="76"/>
                    <a:pt x="14" y="76"/>
                  </a:cubicBezTo>
                  <a:cubicBezTo>
                    <a:pt x="9" y="76"/>
                    <a:pt x="5" y="73"/>
                    <a:pt x="3" y="68"/>
                  </a:cubicBezTo>
                  <a:cubicBezTo>
                    <a:pt x="2" y="64"/>
                    <a:pt x="2" y="64"/>
                    <a:pt x="2" y="64"/>
                  </a:cubicBezTo>
                  <a:cubicBezTo>
                    <a:pt x="1" y="61"/>
                    <a:pt x="2" y="58"/>
                    <a:pt x="3" y="56"/>
                  </a:cubicBezTo>
                  <a:cubicBezTo>
                    <a:pt x="5" y="53"/>
                    <a:pt x="7" y="51"/>
                    <a:pt x="10" y="50"/>
                  </a:cubicBezTo>
                  <a:close/>
                  <a:moveTo>
                    <a:pt x="12" y="56"/>
                  </a:moveTo>
                  <a:cubicBezTo>
                    <a:pt x="10" y="56"/>
                    <a:pt x="9" y="57"/>
                    <a:pt x="8" y="58"/>
                  </a:cubicBezTo>
                  <a:cubicBezTo>
                    <a:pt x="8" y="60"/>
                    <a:pt x="8" y="61"/>
                    <a:pt x="8" y="62"/>
                  </a:cubicBezTo>
                  <a:cubicBezTo>
                    <a:pt x="9" y="66"/>
                    <a:pt x="9" y="66"/>
                    <a:pt x="9" y="66"/>
                  </a:cubicBezTo>
                  <a:cubicBezTo>
                    <a:pt x="10" y="68"/>
                    <a:pt x="12" y="70"/>
                    <a:pt x="14" y="70"/>
                  </a:cubicBezTo>
                  <a:cubicBezTo>
                    <a:pt x="14" y="70"/>
                    <a:pt x="14" y="70"/>
                    <a:pt x="14" y="70"/>
                  </a:cubicBezTo>
                  <a:cubicBezTo>
                    <a:pt x="15" y="70"/>
                    <a:pt x="15" y="70"/>
                    <a:pt x="16" y="70"/>
                  </a:cubicBezTo>
                  <a:cubicBezTo>
                    <a:pt x="111" y="41"/>
                    <a:pt x="111" y="41"/>
                    <a:pt x="111" y="41"/>
                  </a:cubicBezTo>
                  <a:cubicBezTo>
                    <a:pt x="112" y="41"/>
                    <a:pt x="113" y="40"/>
                    <a:pt x="114" y="39"/>
                  </a:cubicBezTo>
                  <a:cubicBezTo>
                    <a:pt x="115" y="37"/>
                    <a:pt x="115" y="36"/>
                    <a:pt x="115" y="35"/>
                  </a:cubicBezTo>
                  <a:cubicBezTo>
                    <a:pt x="113" y="31"/>
                    <a:pt x="113" y="31"/>
                    <a:pt x="113" y="31"/>
                  </a:cubicBezTo>
                  <a:cubicBezTo>
                    <a:pt x="113" y="29"/>
                    <a:pt x="111" y="27"/>
                    <a:pt x="108" y="27"/>
                  </a:cubicBezTo>
                  <a:cubicBezTo>
                    <a:pt x="108" y="27"/>
                    <a:pt x="107" y="27"/>
                    <a:pt x="107" y="27"/>
                  </a:cubicBezTo>
                  <a:lnTo>
                    <a:pt x="12" y="56"/>
                  </a:lnTo>
                  <a:close/>
                  <a:moveTo>
                    <a:pt x="2" y="31"/>
                  </a:moveTo>
                  <a:cubicBezTo>
                    <a:pt x="0" y="25"/>
                    <a:pt x="4" y="18"/>
                    <a:pt x="10" y="16"/>
                  </a:cubicBezTo>
                  <a:cubicBezTo>
                    <a:pt x="59" y="1"/>
                    <a:pt x="59" y="1"/>
                    <a:pt x="59" y="1"/>
                  </a:cubicBezTo>
                  <a:cubicBezTo>
                    <a:pt x="65" y="0"/>
                    <a:pt x="72" y="3"/>
                    <a:pt x="73" y="9"/>
                  </a:cubicBezTo>
                  <a:cubicBezTo>
                    <a:pt x="75" y="12"/>
                    <a:pt x="75" y="12"/>
                    <a:pt x="75" y="12"/>
                  </a:cubicBezTo>
                  <a:cubicBezTo>
                    <a:pt x="76" y="18"/>
                    <a:pt x="73" y="25"/>
                    <a:pt x="67" y="27"/>
                  </a:cubicBezTo>
                  <a:cubicBezTo>
                    <a:pt x="18" y="42"/>
                    <a:pt x="18" y="42"/>
                    <a:pt x="18" y="42"/>
                  </a:cubicBezTo>
                  <a:cubicBezTo>
                    <a:pt x="16" y="42"/>
                    <a:pt x="15" y="42"/>
                    <a:pt x="14" y="42"/>
                  </a:cubicBezTo>
                  <a:cubicBezTo>
                    <a:pt x="9" y="42"/>
                    <a:pt x="5" y="39"/>
                    <a:pt x="3" y="34"/>
                  </a:cubicBezTo>
                  <a:lnTo>
                    <a:pt x="2" y="31"/>
                  </a:lnTo>
                  <a:close/>
                  <a:moveTo>
                    <a:pt x="8" y="29"/>
                  </a:moveTo>
                  <a:cubicBezTo>
                    <a:pt x="9" y="32"/>
                    <a:pt x="9" y="32"/>
                    <a:pt x="9" y="32"/>
                  </a:cubicBezTo>
                  <a:cubicBezTo>
                    <a:pt x="10" y="35"/>
                    <a:pt x="12" y="36"/>
                    <a:pt x="14" y="36"/>
                  </a:cubicBezTo>
                  <a:cubicBezTo>
                    <a:pt x="15" y="36"/>
                    <a:pt x="15" y="36"/>
                    <a:pt x="16" y="36"/>
                  </a:cubicBezTo>
                  <a:cubicBezTo>
                    <a:pt x="65" y="21"/>
                    <a:pt x="65" y="21"/>
                    <a:pt x="65" y="21"/>
                  </a:cubicBezTo>
                  <a:cubicBezTo>
                    <a:pt x="68" y="20"/>
                    <a:pt x="70" y="17"/>
                    <a:pt x="69" y="14"/>
                  </a:cubicBezTo>
                  <a:cubicBezTo>
                    <a:pt x="68" y="11"/>
                    <a:pt x="68" y="11"/>
                    <a:pt x="68" y="11"/>
                  </a:cubicBezTo>
                  <a:cubicBezTo>
                    <a:pt x="67" y="8"/>
                    <a:pt x="65" y="7"/>
                    <a:pt x="63" y="7"/>
                  </a:cubicBezTo>
                  <a:cubicBezTo>
                    <a:pt x="62" y="7"/>
                    <a:pt x="62" y="7"/>
                    <a:pt x="61" y="7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9" y="23"/>
                    <a:pt x="7" y="26"/>
                    <a:pt x="8" y="29"/>
                  </a:cubicBezTo>
                  <a:close/>
                  <a:moveTo>
                    <a:pt x="113" y="114"/>
                  </a:moveTo>
                  <a:cubicBezTo>
                    <a:pt x="105" y="116"/>
                    <a:pt x="105" y="116"/>
                    <a:pt x="105" y="116"/>
                  </a:cubicBezTo>
                  <a:cubicBezTo>
                    <a:pt x="102" y="117"/>
                    <a:pt x="99" y="121"/>
                    <a:pt x="99" y="124"/>
                  </a:cubicBezTo>
                  <a:cubicBezTo>
                    <a:pt x="99" y="137"/>
                    <a:pt x="99" y="137"/>
                    <a:pt x="99" y="137"/>
                  </a:cubicBezTo>
                  <a:cubicBezTo>
                    <a:pt x="110" y="137"/>
                    <a:pt x="110" y="137"/>
                    <a:pt x="110" y="137"/>
                  </a:cubicBezTo>
                  <a:cubicBezTo>
                    <a:pt x="110" y="187"/>
                    <a:pt x="110" y="187"/>
                    <a:pt x="110" y="187"/>
                  </a:cubicBezTo>
                  <a:cubicBezTo>
                    <a:pt x="110" y="198"/>
                    <a:pt x="100" y="207"/>
                    <a:pt x="87" y="208"/>
                  </a:cubicBezTo>
                  <a:cubicBezTo>
                    <a:pt x="87" y="213"/>
                    <a:pt x="87" y="213"/>
                    <a:pt x="87" y="213"/>
                  </a:cubicBezTo>
                  <a:cubicBezTo>
                    <a:pt x="87" y="219"/>
                    <a:pt x="81" y="224"/>
                    <a:pt x="74" y="224"/>
                  </a:cubicBezTo>
                  <a:cubicBezTo>
                    <a:pt x="54" y="224"/>
                    <a:pt x="54" y="224"/>
                    <a:pt x="54" y="224"/>
                  </a:cubicBezTo>
                  <a:cubicBezTo>
                    <a:pt x="47" y="224"/>
                    <a:pt x="41" y="219"/>
                    <a:pt x="41" y="213"/>
                  </a:cubicBezTo>
                  <a:cubicBezTo>
                    <a:pt x="41" y="208"/>
                    <a:pt x="41" y="208"/>
                    <a:pt x="41" y="208"/>
                  </a:cubicBezTo>
                  <a:cubicBezTo>
                    <a:pt x="28" y="207"/>
                    <a:pt x="18" y="198"/>
                    <a:pt x="18" y="187"/>
                  </a:cubicBezTo>
                  <a:cubicBezTo>
                    <a:pt x="18" y="137"/>
                    <a:pt x="18" y="137"/>
                    <a:pt x="18" y="137"/>
                  </a:cubicBezTo>
                  <a:cubicBezTo>
                    <a:pt x="29" y="137"/>
                    <a:pt x="29" y="137"/>
                    <a:pt x="29" y="137"/>
                  </a:cubicBezTo>
                  <a:cubicBezTo>
                    <a:pt x="29" y="120"/>
                    <a:pt x="29" y="120"/>
                    <a:pt x="29" y="120"/>
                  </a:cubicBezTo>
                  <a:cubicBezTo>
                    <a:pt x="29" y="117"/>
                    <a:pt x="26" y="113"/>
                    <a:pt x="23" y="113"/>
                  </a:cubicBezTo>
                  <a:cubicBezTo>
                    <a:pt x="12" y="109"/>
                    <a:pt x="12" y="109"/>
                    <a:pt x="12" y="109"/>
                  </a:cubicBezTo>
                  <a:cubicBezTo>
                    <a:pt x="10" y="109"/>
                    <a:pt x="10" y="109"/>
                    <a:pt x="10" y="109"/>
                  </a:cubicBezTo>
                  <a:cubicBezTo>
                    <a:pt x="7" y="108"/>
                    <a:pt x="4" y="105"/>
                    <a:pt x="3" y="102"/>
                  </a:cubicBezTo>
                  <a:cubicBezTo>
                    <a:pt x="2" y="98"/>
                    <a:pt x="2" y="98"/>
                    <a:pt x="2" y="98"/>
                  </a:cubicBezTo>
                  <a:cubicBezTo>
                    <a:pt x="2" y="97"/>
                    <a:pt x="2" y="97"/>
                    <a:pt x="2" y="96"/>
                  </a:cubicBezTo>
                  <a:cubicBezTo>
                    <a:pt x="2" y="94"/>
                    <a:pt x="2" y="91"/>
                    <a:pt x="3" y="89"/>
                  </a:cubicBezTo>
                  <a:cubicBezTo>
                    <a:pt x="5" y="87"/>
                    <a:pt x="7" y="85"/>
                    <a:pt x="10" y="84"/>
                  </a:cubicBezTo>
                  <a:cubicBezTo>
                    <a:pt x="105" y="55"/>
                    <a:pt x="105" y="55"/>
                    <a:pt x="105" y="55"/>
                  </a:cubicBezTo>
                  <a:cubicBezTo>
                    <a:pt x="111" y="54"/>
                    <a:pt x="118" y="57"/>
                    <a:pt x="119" y="63"/>
                  </a:cubicBezTo>
                  <a:cubicBezTo>
                    <a:pt x="120" y="66"/>
                    <a:pt x="120" y="66"/>
                    <a:pt x="120" y="66"/>
                  </a:cubicBezTo>
                  <a:cubicBezTo>
                    <a:pt x="121" y="69"/>
                    <a:pt x="121" y="72"/>
                    <a:pt x="119" y="75"/>
                  </a:cubicBezTo>
                  <a:cubicBezTo>
                    <a:pt x="118" y="78"/>
                    <a:pt x="116" y="80"/>
                    <a:pt x="113" y="81"/>
                  </a:cubicBezTo>
                  <a:cubicBezTo>
                    <a:pt x="54" y="98"/>
                    <a:pt x="54" y="98"/>
                    <a:pt x="54" y="98"/>
                  </a:cubicBezTo>
                  <a:cubicBezTo>
                    <a:pt x="55" y="100"/>
                    <a:pt x="56" y="103"/>
                    <a:pt x="56" y="105"/>
                  </a:cubicBezTo>
                  <a:cubicBezTo>
                    <a:pt x="56" y="137"/>
                    <a:pt x="56" y="137"/>
                    <a:pt x="56" y="137"/>
                  </a:cubicBezTo>
                  <a:cubicBezTo>
                    <a:pt x="72" y="137"/>
                    <a:pt x="72" y="137"/>
                    <a:pt x="72" y="137"/>
                  </a:cubicBezTo>
                  <a:cubicBezTo>
                    <a:pt x="72" y="109"/>
                    <a:pt x="72" y="109"/>
                    <a:pt x="72" y="109"/>
                  </a:cubicBezTo>
                  <a:cubicBezTo>
                    <a:pt x="72" y="103"/>
                    <a:pt x="77" y="97"/>
                    <a:pt x="82" y="95"/>
                  </a:cubicBezTo>
                  <a:cubicBezTo>
                    <a:pt x="105" y="89"/>
                    <a:pt x="105" y="89"/>
                    <a:pt x="105" y="89"/>
                  </a:cubicBezTo>
                  <a:cubicBezTo>
                    <a:pt x="111" y="87"/>
                    <a:pt x="118" y="91"/>
                    <a:pt x="119" y="96"/>
                  </a:cubicBezTo>
                  <a:cubicBezTo>
                    <a:pt x="120" y="100"/>
                    <a:pt x="120" y="100"/>
                    <a:pt x="120" y="100"/>
                  </a:cubicBezTo>
                  <a:cubicBezTo>
                    <a:pt x="122" y="106"/>
                    <a:pt x="119" y="112"/>
                    <a:pt x="113" y="114"/>
                  </a:cubicBezTo>
                  <a:close/>
                  <a:moveTo>
                    <a:pt x="49" y="93"/>
                  </a:moveTo>
                  <a:cubicBezTo>
                    <a:pt x="111" y="75"/>
                    <a:pt x="111" y="75"/>
                    <a:pt x="111" y="75"/>
                  </a:cubicBezTo>
                  <a:cubicBezTo>
                    <a:pt x="112" y="74"/>
                    <a:pt x="113" y="74"/>
                    <a:pt x="114" y="72"/>
                  </a:cubicBezTo>
                  <a:cubicBezTo>
                    <a:pt x="115" y="71"/>
                    <a:pt x="115" y="70"/>
                    <a:pt x="115" y="68"/>
                  </a:cubicBezTo>
                  <a:cubicBezTo>
                    <a:pt x="113" y="65"/>
                    <a:pt x="113" y="65"/>
                    <a:pt x="113" y="65"/>
                  </a:cubicBezTo>
                  <a:cubicBezTo>
                    <a:pt x="113" y="62"/>
                    <a:pt x="111" y="61"/>
                    <a:pt x="108" y="61"/>
                  </a:cubicBezTo>
                  <a:cubicBezTo>
                    <a:pt x="108" y="61"/>
                    <a:pt x="107" y="61"/>
                    <a:pt x="107" y="61"/>
                  </a:cubicBezTo>
                  <a:cubicBezTo>
                    <a:pt x="25" y="86"/>
                    <a:pt x="25" y="86"/>
                    <a:pt x="25" y="86"/>
                  </a:cubicBezTo>
                  <a:cubicBezTo>
                    <a:pt x="13" y="89"/>
                    <a:pt x="13" y="89"/>
                    <a:pt x="13" y="89"/>
                  </a:cubicBezTo>
                  <a:cubicBezTo>
                    <a:pt x="12" y="89"/>
                    <a:pt x="12" y="89"/>
                    <a:pt x="12" y="89"/>
                  </a:cubicBezTo>
                  <a:cubicBezTo>
                    <a:pt x="12" y="90"/>
                    <a:pt x="12" y="90"/>
                    <a:pt x="12" y="90"/>
                  </a:cubicBezTo>
                  <a:cubicBezTo>
                    <a:pt x="10" y="90"/>
                    <a:pt x="9" y="91"/>
                    <a:pt x="8" y="92"/>
                  </a:cubicBezTo>
                  <a:cubicBezTo>
                    <a:pt x="8" y="93"/>
                    <a:pt x="8" y="95"/>
                    <a:pt x="8" y="96"/>
                  </a:cubicBezTo>
                  <a:cubicBezTo>
                    <a:pt x="8" y="96"/>
                    <a:pt x="8" y="96"/>
                    <a:pt x="8" y="96"/>
                  </a:cubicBezTo>
                  <a:cubicBezTo>
                    <a:pt x="9" y="100"/>
                    <a:pt x="9" y="100"/>
                    <a:pt x="9" y="100"/>
                  </a:cubicBezTo>
                  <a:cubicBezTo>
                    <a:pt x="10" y="101"/>
                    <a:pt x="11" y="103"/>
                    <a:pt x="12" y="103"/>
                  </a:cubicBezTo>
                  <a:cubicBezTo>
                    <a:pt x="13" y="103"/>
                    <a:pt x="13" y="103"/>
                    <a:pt x="13" y="103"/>
                  </a:cubicBezTo>
                  <a:cubicBezTo>
                    <a:pt x="25" y="107"/>
                    <a:pt x="25" y="107"/>
                    <a:pt x="25" y="107"/>
                  </a:cubicBezTo>
                  <a:cubicBezTo>
                    <a:pt x="25" y="107"/>
                    <a:pt x="25" y="107"/>
                    <a:pt x="25" y="107"/>
                  </a:cubicBezTo>
                  <a:cubicBezTo>
                    <a:pt x="31" y="109"/>
                    <a:pt x="35" y="115"/>
                    <a:pt x="35" y="120"/>
                  </a:cubicBezTo>
                  <a:cubicBezTo>
                    <a:pt x="35" y="137"/>
                    <a:pt x="35" y="137"/>
                    <a:pt x="35" y="137"/>
                  </a:cubicBezTo>
                  <a:cubicBezTo>
                    <a:pt x="50" y="137"/>
                    <a:pt x="50" y="137"/>
                    <a:pt x="50" y="137"/>
                  </a:cubicBezTo>
                  <a:cubicBezTo>
                    <a:pt x="50" y="105"/>
                    <a:pt x="50" y="105"/>
                    <a:pt x="50" y="105"/>
                  </a:cubicBezTo>
                  <a:cubicBezTo>
                    <a:pt x="50" y="104"/>
                    <a:pt x="49" y="102"/>
                    <a:pt x="48" y="100"/>
                  </a:cubicBezTo>
                  <a:cubicBezTo>
                    <a:pt x="47" y="99"/>
                    <a:pt x="45" y="98"/>
                    <a:pt x="44" y="97"/>
                  </a:cubicBezTo>
                  <a:cubicBezTo>
                    <a:pt x="44" y="97"/>
                    <a:pt x="40" y="96"/>
                    <a:pt x="49" y="93"/>
                  </a:cubicBezTo>
                  <a:close/>
                  <a:moveTo>
                    <a:pt x="115" y="102"/>
                  </a:moveTo>
                  <a:cubicBezTo>
                    <a:pt x="113" y="98"/>
                    <a:pt x="113" y="98"/>
                    <a:pt x="113" y="98"/>
                  </a:cubicBezTo>
                  <a:cubicBezTo>
                    <a:pt x="113" y="95"/>
                    <a:pt x="110" y="94"/>
                    <a:pt x="107" y="95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81" y="102"/>
                    <a:pt x="78" y="106"/>
                    <a:pt x="78" y="109"/>
                  </a:cubicBezTo>
                  <a:cubicBezTo>
                    <a:pt x="78" y="137"/>
                    <a:pt x="78" y="137"/>
                    <a:pt x="78" y="137"/>
                  </a:cubicBezTo>
                  <a:cubicBezTo>
                    <a:pt x="93" y="137"/>
                    <a:pt x="93" y="137"/>
                    <a:pt x="93" y="137"/>
                  </a:cubicBezTo>
                  <a:cubicBezTo>
                    <a:pt x="93" y="124"/>
                    <a:pt x="93" y="124"/>
                    <a:pt x="93" y="124"/>
                  </a:cubicBezTo>
                  <a:cubicBezTo>
                    <a:pt x="93" y="118"/>
                    <a:pt x="97" y="112"/>
                    <a:pt x="103" y="111"/>
                  </a:cubicBezTo>
                  <a:cubicBezTo>
                    <a:pt x="111" y="108"/>
                    <a:pt x="111" y="108"/>
                    <a:pt x="111" y="108"/>
                  </a:cubicBezTo>
                  <a:cubicBezTo>
                    <a:pt x="114" y="108"/>
                    <a:pt x="115" y="105"/>
                    <a:pt x="115" y="10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827920"/>
              <a:endParaRPr lang="en-US" sz="3734" dirty="0">
                <a:solidFill>
                  <a:srgbClr val="FFFFFF"/>
                </a:solidFill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360284" y="6374301"/>
            <a:ext cx="13224536" cy="3046990"/>
          </a:xfrm>
        </p:spPr>
        <p:txBody>
          <a:bodyPr anchor="ctr" anchorCtr="0">
            <a:noAutofit/>
          </a:bodyPr>
          <a:lstStyle>
            <a:lvl1pPr algn="l" defTabSz="182792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8000" b="1" kern="1200" cap="none" spc="-200" baseline="0" dirty="0">
                <a:ln w="3175">
                  <a:noFill/>
                </a:ln>
                <a:solidFill>
                  <a:schemeClr val="accent6">
                    <a:alpha val="99000"/>
                  </a:schemeClr>
                </a:soli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 useBgFill="1">
        <p:nvSpPr>
          <p:cNvPr id="15" name="Bottom Mask"/>
          <p:cNvSpPr/>
          <p:nvPr userDrawn="1"/>
        </p:nvSpPr>
        <p:spPr bwMode="auto">
          <a:xfrm>
            <a:off x="8022173" y="12020553"/>
            <a:ext cx="16361858" cy="1695450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792" tIns="91398" rIns="182792" bIns="9139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827392"/>
            <a:endParaRPr lang="en-US" sz="4534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98471269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ideo, &quot;special&quot; slid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Tile"/>
          <p:cNvSpPr/>
          <p:nvPr userDrawn="1"/>
        </p:nvSpPr>
        <p:spPr bwMode="auto">
          <a:xfrm>
            <a:off x="8022143" y="6374275"/>
            <a:ext cx="14329334" cy="5646278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182792" tIns="91398" rIns="182792" bIns="91398" numCol="1" rtlCol="0" anchor="ctr" anchorCtr="0" compatLnSpc="1">
            <a:prstTxWarp prst="textNoShape">
              <a:avLst/>
            </a:prstTxWarp>
          </a:bodyPr>
          <a:lstStyle/>
          <a:p>
            <a:pPr algn="ctr" defTabSz="1827392"/>
            <a:endParaRPr lang="en-US" sz="4534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Arrow Bar"/>
          <p:cNvSpPr/>
          <p:nvPr userDrawn="1"/>
        </p:nvSpPr>
        <p:spPr bwMode="auto">
          <a:xfrm>
            <a:off x="8022143" y="3028950"/>
            <a:ext cx="14329334" cy="2999232"/>
          </a:xfrm>
          <a:prstGeom prst="rect">
            <a:avLst/>
          </a:prstGeom>
          <a:solidFill>
            <a:schemeClr val="accent5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182792" tIns="91398" rIns="182792" bIns="91398" numCol="1" rtlCol="0" anchor="ctr" anchorCtr="0" compatLnSpc="1">
            <a:prstTxWarp prst="textNoShape">
              <a:avLst/>
            </a:prstTxWarp>
          </a:bodyPr>
          <a:lstStyle/>
          <a:p>
            <a:pPr algn="ctr" defTabSz="1827392"/>
            <a:endParaRPr lang="en-US" sz="4534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8360281" y="3173174"/>
            <a:ext cx="11102374" cy="2757288"/>
          </a:xfrm>
        </p:spPr>
        <p:txBody>
          <a:bodyPr anchor="ctr" anchorCtr="0">
            <a:noAutofit/>
            <a:scene3d>
              <a:camera prst="orthographicFront"/>
              <a:lightRig rig="flat" dir="t"/>
            </a:scene3d>
            <a:sp3d>
              <a:contourClr>
                <a:schemeClr val="tx2"/>
              </a:contourClr>
            </a:sp3d>
          </a:bodyPr>
          <a:lstStyle>
            <a:lvl1pPr marL="0" indent="0" algn="l" defTabSz="1827920" rtl="0" eaLnBrk="1" latinLnBrk="0" hangingPunct="1">
              <a:lnSpc>
                <a:spcPct val="90000"/>
              </a:lnSpc>
              <a:spcBef>
                <a:spcPct val="0"/>
              </a:spcBef>
              <a:buFont typeface="Arial" pitchFamily="34" charset="0"/>
              <a:buNone/>
              <a:defRPr lang="en-US" sz="10934" b="1" kern="1200" cap="none" spc="-200" baseline="0" dirty="0" smtClean="0">
                <a:ln w="3175">
                  <a:noFill/>
                </a:ln>
                <a:solidFill>
                  <a:schemeClr val="tx1">
                    <a:alpha val="99000"/>
                  </a:schemeClr>
                </a:soli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Video</a:t>
            </a:r>
          </a:p>
        </p:txBody>
      </p:sp>
      <p:sp useBgFill="1">
        <p:nvSpPr>
          <p:cNvPr id="9" name="Left Mask"/>
          <p:cNvSpPr/>
          <p:nvPr userDrawn="1"/>
        </p:nvSpPr>
        <p:spPr bwMode="auto">
          <a:xfrm>
            <a:off x="-1" y="3028952"/>
            <a:ext cx="8022142" cy="2999232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792" tIns="91398" rIns="182792" bIns="9139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827392"/>
            <a:endParaRPr lang="en-US" sz="4534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360290" y="10363233"/>
            <a:ext cx="13224536" cy="923330"/>
          </a:xfrm>
        </p:spPr>
        <p:txBody>
          <a:bodyPr>
            <a:noAutofit/>
          </a:bodyPr>
          <a:lstStyle>
            <a:lvl1pPr marL="0" indent="0" algn="l" defTabSz="1827920" rtl="0" eaLnBrk="1" latinLnBrk="0" hangingPunct="1">
              <a:lnSpc>
                <a:spcPct val="90000"/>
              </a:lnSpc>
              <a:spcBef>
                <a:spcPts val="0"/>
              </a:spcBef>
              <a:buSzPct val="105000"/>
              <a:buFontTx/>
              <a:buNone/>
              <a:defRPr lang="en-US" sz="3200" kern="1200" dirty="0">
                <a:solidFill>
                  <a:schemeClr val="bg1">
                    <a:alpha val="99000"/>
                  </a:schemeClr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9139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8279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7418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36558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45697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5483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63977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73116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Circle Arrow"/>
          <p:cNvSpPr>
            <a:spLocks noEditPoints="1"/>
          </p:cNvSpPr>
          <p:nvPr userDrawn="1"/>
        </p:nvSpPr>
        <p:spPr bwMode="auto">
          <a:xfrm rot="5400000">
            <a:off x="19901879" y="3745895"/>
            <a:ext cx="1682750" cy="1683190"/>
          </a:xfrm>
          <a:custGeom>
            <a:avLst/>
            <a:gdLst>
              <a:gd name="T0" fmla="*/ 112 w 224"/>
              <a:gd name="T1" fmla="*/ 0 h 224"/>
              <a:gd name="T2" fmla="*/ 0 w 224"/>
              <a:gd name="T3" fmla="*/ 112 h 224"/>
              <a:gd name="T4" fmla="*/ 112 w 224"/>
              <a:gd name="T5" fmla="*/ 224 h 224"/>
              <a:gd name="T6" fmla="*/ 224 w 224"/>
              <a:gd name="T7" fmla="*/ 112 h 224"/>
              <a:gd name="T8" fmla="*/ 112 w 224"/>
              <a:gd name="T9" fmla="*/ 0 h 224"/>
              <a:gd name="T10" fmla="*/ 112 w 224"/>
              <a:gd name="T11" fmla="*/ 216 h 224"/>
              <a:gd name="T12" fmla="*/ 8 w 224"/>
              <a:gd name="T13" fmla="*/ 112 h 224"/>
              <a:gd name="T14" fmla="*/ 112 w 224"/>
              <a:gd name="T15" fmla="*/ 8 h 224"/>
              <a:gd name="T16" fmla="*/ 216 w 224"/>
              <a:gd name="T17" fmla="*/ 112 h 224"/>
              <a:gd name="T18" fmla="*/ 112 w 224"/>
              <a:gd name="T19" fmla="*/ 216 h 224"/>
              <a:gd name="T20" fmla="*/ 161 w 224"/>
              <a:gd name="T21" fmla="*/ 94 h 224"/>
              <a:gd name="T22" fmla="*/ 169 w 224"/>
              <a:gd name="T23" fmla="*/ 94 h 224"/>
              <a:gd name="T24" fmla="*/ 169 w 224"/>
              <a:gd name="T25" fmla="*/ 166 h 224"/>
              <a:gd name="T26" fmla="*/ 165 w 224"/>
              <a:gd name="T27" fmla="*/ 170 h 224"/>
              <a:gd name="T28" fmla="*/ 93 w 224"/>
              <a:gd name="T29" fmla="*/ 170 h 224"/>
              <a:gd name="T30" fmla="*/ 93 w 224"/>
              <a:gd name="T31" fmla="*/ 162 h 224"/>
              <a:gd name="T32" fmla="*/ 156 w 224"/>
              <a:gd name="T33" fmla="*/ 162 h 224"/>
              <a:gd name="T34" fmla="*/ 58 w 224"/>
              <a:gd name="T35" fmla="*/ 65 h 224"/>
              <a:gd name="T36" fmla="*/ 64 w 224"/>
              <a:gd name="T37" fmla="*/ 59 h 224"/>
              <a:gd name="T38" fmla="*/ 161 w 224"/>
              <a:gd name="T39" fmla="*/ 156 h 224"/>
              <a:gd name="T40" fmla="*/ 161 w 224"/>
              <a:gd name="T41" fmla="*/ 94 h 2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224" h="224">
                <a:moveTo>
                  <a:pt x="112" y="0"/>
                </a:moveTo>
                <a:cubicBezTo>
                  <a:pt x="50" y="0"/>
                  <a:pt x="0" y="50"/>
                  <a:pt x="0" y="112"/>
                </a:cubicBezTo>
                <a:cubicBezTo>
                  <a:pt x="0" y="174"/>
                  <a:pt x="50" y="224"/>
                  <a:pt x="112" y="224"/>
                </a:cubicBezTo>
                <a:cubicBezTo>
                  <a:pt x="173" y="224"/>
                  <a:pt x="224" y="174"/>
                  <a:pt x="224" y="112"/>
                </a:cubicBezTo>
                <a:cubicBezTo>
                  <a:pt x="224" y="50"/>
                  <a:pt x="173" y="0"/>
                  <a:pt x="112" y="0"/>
                </a:cubicBezTo>
                <a:close/>
                <a:moveTo>
                  <a:pt x="112" y="216"/>
                </a:moveTo>
                <a:cubicBezTo>
                  <a:pt x="54" y="216"/>
                  <a:pt x="8" y="169"/>
                  <a:pt x="8" y="112"/>
                </a:cubicBezTo>
                <a:cubicBezTo>
                  <a:pt x="8" y="54"/>
                  <a:pt x="54" y="8"/>
                  <a:pt x="112" y="8"/>
                </a:cubicBezTo>
                <a:cubicBezTo>
                  <a:pt x="169" y="8"/>
                  <a:pt x="216" y="54"/>
                  <a:pt x="216" y="112"/>
                </a:cubicBezTo>
                <a:cubicBezTo>
                  <a:pt x="216" y="169"/>
                  <a:pt x="169" y="216"/>
                  <a:pt x="112" y="216"/>
                </a:cubicBezTo>
                <a:close/>
                <a:moveTo>
                  <a:pt x="161" y="94"/>
                </a:moveTo>
                <a:cubicBezTo>
                  <a:pt x="169" y="94"/>
                  <a:pt x="169" y="94"/>
                  <a:pt x="169" y="94"/>
                </a:cubicBezTo>
                <a:cubicBezTo>
                  <a:pt x="169" y="166"/>
                  <a:pt x="169" y="166"/>
                  <a:pt x="169" y="166"/>
                </a:cubicBezTo>
                <a:cubicBezTo>
                  <a:pt x="169" y="168"/>
                  <a:pt x="168" y="170"/>
                  <a:pt x="165" y="170"/>
                </a:cubicBezTo>
                <a:cubicBezTo>
                  <a:pt x="93" y="170"/>
                  <a:pt x="93" y="170"/>
                  <a:pt x="93" y="170"/>
                </a:cubicBezTo>
                <a:cubicBezTo>
                  <a:pt x="93" y="162"/>
                  <a:pt x="93" y="162"/>
                  <a:pt x="93" y="162"/>
                </a:cubicBezTo>
                <a:cubicBezTo>
                  <a:pt x="156" y="162"/>
                  <a:pt x="156" y="162"/>
                  <a:pt x="156" y="162"/>
                </a:cubicBezTo>
                <a:cubicBezTo>
                  <a:pt x="58" y="65"/>
                  <a:pt x="58" y="65"/>
                  <a:pt x="58" y="65"/>
                </a:cubicBezTo>
                <a:cubicBezTo>
                  <a:pt x="64" y="59"/>
                  <a:pt x="64" y="59"/>
                  <a:pt x="64" y="59"/>
                </a:cubicBezTo>
                <a:cubicBezTo>
                  <a:pt x="161" y="156"/>
                  <a:pt x="161" y="156"/>
                  <a:pt x="161" y="156"/>
                </a:cubicBezTo>
                <a:lnTo>
                  <a:pt x="161" y="94"/>
                </a:lnTo>
                <a:close/>
              </a:path>
            </a:pathLst>
          </a:cu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txBody>
          <a:bodyPr vert="horz" wrap="square" lIns="182800" tIns="91402" rIns="182800" bIns="91402" numCol="1" anchor="t" anchorCtr="0" compatLnSpc="1">
            <a:prstTxWarp prst="textNoShape">
              <a:avLst/>
            </a:prstTxWarp>
          </a:bodyPr>
          <a:lstStyle/>
          <a:p>
            <a:pPr defTabSz="1827920"/>
            <a:endParaRPr lang="en-US" sz="3734" dirty="0">
              <a:solidFill>
                <a:srgbClr val="FFFFFF"/>
              </a:solidFill>
            </a:endParaRPr>
          </a:p>
        </p:txBody>
      </p:sp>
      <p:sp>
        <p:nvSpPr>
          <p:cNvPr id="11" name="TechEd Tile"/>
          <p:cNvSpPr/>
          <p:nvPr userDrawn="1"/>
        </p:nvSpPr>
        <p:spPr bwMode="auto">
          <a:xfrm>
            <a:off x="2044678" y="3028950"/>
            <a:ext cx="5652464" cy="2999232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182792" tIns="91398" rIns="182792" bIns="91398" numCol="1" rtlCol="0" anchor="ctr" anchorCtr="0" compatLnSpc="1">
            <a:prstTxWarp prst="textNoShape">
              <a:avLst/>
            </a:prstTxWarp>
          </a:bodyPr>
          <a:lstStyle/>
          <a:p>
            <a:pPr algn="ctr" defTabSz="1827392"/>
            <a:endParaRPr lang="en-US" sz="4534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2" name="TechEd Logo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530"/>
          <a:stretch/>
        </p:blipFill>
        <p:spPr bwMode="auto">
          <a:xfrm>
            <a:off x="2803366" y="3484990"/>
            <a:ext cx="4135088" cy="20871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 useBgFill="1">
        <p:nvSpPr>
          <p:cNvPr id="13" name="Top Mask"/>
          <p:cNvSpPr/>
          <p:nvPr userDrawn="1"/>
        </p:nvSpPr>
        <p:spPr bwMode="auto">
          <a:xfrm>
            <a:off x="2" y="3"/>
            <a:ext cx="24384000" cy="3028950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792" tIns="91398" rIns="182792" bIns="9139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827392"/>
            <a:endParaRPr lang="en-US" sz="4534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ea typeface="Segoe UI" pitchFamily="34" charset="0"/>
              <a:cs typeface="Segoe UI" pitchFamily="34" charset="0"/>
            </a:endParaRPr>
          </a:p>
        </p:txBody>
      </p:sp>
      <p:sp useBgFill="1">
        <p:nvSpPr>
          <p:cNvPr id="14" name="Right Mask"/>
          <p:cNvSpPr/>
          <p:nvPr userDrawn="1"/>
        </p:nvSpPr>
        <p:spPr bwMode="auto">
          <a:xfrm>
            <a:off x="22351501" y="3261639"/>
            <a:ext cx="2032530" cy="8309966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792" tIns="91398" rIns="182792" bIns="9139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827392"/>
            <a:endParaRPr lang="en-US" sz="4534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360284" y="6374301"/>
            <a:ext cx="13224536" cy="3046990"/>
          </a:xfrm>
        </p:spPr>
        <p:txBody>
          <a:bodyPr anchor="ctr" anchorCtr="0">
            <a:noAutofit/>
          </a:bodyPr>
          <a:lstStyle>
            <a:lvl1pPr algn="l" defTabSz="182792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8000" b="1" kern="1200" cap="none" spc="-200" baseline="0" dirty="0">
                <a:ln w="3175">
                  <a:noFill/>
                </a:ln>
                <a:solidFill>
                  <a:schemeClr val="accent5">
                    <a:alpha val="99000"/>
                  </a:schemeClr>
                </a:soli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 useBgFill="1">
        <p:nvSpPr>
          <p:cNvPr id="15" name="Bottom Mask"/>
          <p:cNvSpPr/>
          <p:nvPr userDrawn="1"/>
        </p:nvSpPr>
        <p:spPr bwMode="auto">
          <a:xfrm>
            <a:off x="8022173" y="12020553"/>
            <a:ext cx="16361858" cy="1695450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792" tIns="91398" rIns="182792" bIns="9139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827392"/>
            <a:endParaRPr lang="en-US" sz="4534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19" name="Green Tile"/>
          <p:cNvGrpSpPr/>
          <p:nvPr userDrawn="1"/>
        </p:nvGrpSpPr>
        <p:grpSpPr>
          <a:xfrm>
            <a:off x="2032244" y="6374278"/>
            <a:ext cx="5655976" cy="5654504"/>
            <a:chOff x="-2619354" y="-790581"/>
            <a:chExt cx="2827252" cy="2827252"/>
          </a:xfrm>
        </p:grpSpPr>
        <p:sp>
          <p:nvSpPr>
            <p:cNvPr id="20" name="Rectangle 19"/>
            <p:cNvSpPr/>
            <p:nvPr/>
          </p:nvSpPr>
          <p:spPr bwMode="auto">
            <a:xfrm>
              <a:off x="-2619354" y="-790581"/>
              <a:ext cx="2827252" cy="2827252"/>
            </a:xfrm>
            <a:prstGeom prst="rect">
              <a:avLst/>
            </a:prstGeom>
            <a:solidFill>
              <a:schemeClr val="accent5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vert="horz" wrap="square" lIns="91436" tIns="45718" rIns="91436" bIns="45718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1827392"/>
              <a:endParaRPr lang="en-US" sz="4534" dirty="0">
                <a:solidFill>
                  <a:srgbClr val="FFFFFF">
                    <a:lumMod val="20000"/>
                    <a:lumOff val="80000"/>
                    <a:alpha val="99000"/>
                  </a:srgbClr>
                </a:soli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1" name="Play Icon"/>
            <p:cNvSpPr>
              <a:spLocks noEditPoints="1"/>
            </p:cNvSpPr>
            <p:nvPr/>
          </p:nvSpPr>
          <p:spPr bwMode="auto">
            <a:xfrm>
              <a:off x="-2097903" y="-269875"/>
              <a:ext cx="1784350" cy="1784350"/>
            </a:xfrm>
            <a:custGeom>
              <a:avLst/>
              <a:gdLst>
                <a:gd name="T0" fmla="*/ 168 w 224"/>
                <a:gd name="T1" fmla="*/ 112 h 224"/>
                <a:gd name="T2" fmla="*/ 86 w 224"/>
                <a:gd name="T3" fmla="*/ 173 h 224"/>
                <a:gd name="T4" fmla="*/ 86 w 224"/>
                <a:gd name="T5" fmla="*/ 50 h 224"/>
                <a:gd name="T6" fmla="*/ 168 w 224"/>
                <a:gd name="T7" fmla="*/ 112 h 224"/>
                <a:gd name="T8" fmla="*/ 168 w 224"/>
                <a:gd name="T9" fmla="*/ 112 h 224"/>
                <a:gd name="T10" fmla="*/ 112 w 224"/>
                <a:gd name="T11" fmla="*/ 0 h 224"/>
                <a:gd name="T12" fmla="*/ 224 w 224"/>
                <a:gd name="T13" fmla="*/ 112 h 224"/>
                <a:gd name="T14" fmla="*/ 112 w 224"/>
                <a:gd name="T15" fmla="*/ 224 h 224"/>
                <a:gd name="T16" fmla="*/ 0 w 224"/>
                <a:gd name="T17" fmla="*/ 112 h 224"/>
                <a:gd name="T18" fmla="*/ 112 w 224"/>
                <a:gd name="T19" fmla="*/ 0 h 224"/>
                <a:gd name="T20" fmla="*/ 112 w 224"/>
                <a:gd name="T21" fmla="*/ 216 h 224"/>
                <a:gd name="T22" fmla="*/ 216 w 224"/>
                <a:gd name="T23" fmla="*/ 112 h 224"/>
                <a:gd name="T24" fmla="*/ 112 w 224"/>
                <a:gd name="T25" fmla="*/ 8 h 224"/>
                <a:gd name="T26" fmla="*/ 8 w 224"/>
                <a:gd name="T27" fmla="*/ 112 h 224"/>
                <a:gd name="T28" fmla="*/ 112 w 224"/>
                <a:gd name="T29" fmla="*/ 216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24" h="224">
                  <a:moveTo>
                    <a:pt x="168" y="112"/>
                  </a:moveTo>
                  <a:cubicBezTo>
                    <a:pt x="86" y="173"/>
                    <a:pt x="86" y="173"/>
                    <a:pt x="86" y="173"/>
                  </a:cubicBezTo>
                  <a:cubicBezTo>
                    <a:pt x="86" y="50"/>
                    <a:pt x="86" y="50"/>
                    <a:pt x="86" y="50"/>
                  </a:cubicBezTo>
                  <a:cubicBezTo>
                    <a:pt x="168" y="112"/>
                    <a:pt x="168" y="112"/>
                    <a:pt x="168" y="112"/>
                  </a:cubicBezTo>
                  <a:cubicBezTo>
                    <a:pt x="168" y="112"/>
                    <a:pt x="168" y="112"/>
                    <a:pt x="168" y="112"/>
                  </a:cubicBezTo>
                  <a:close/>
                  <a:moveTo>
                    <a:pt x="112" y="0"/>
                  </a:moveTo>
                  <a:cubicBezTo>
                    <a:pt x="174" y="0"/>
                    <a:pt x="224" y="50"/>
                    <a:pt x="224" y="112"/>
                  </a:cubicBezTo>
                  <a:cubicBezTo>
                    <a:pt x="224" y="174"/>
                    <a:pt x="174" y="224"/>
                    <a:pt x="112" y="224"/>
                  </a:cubicBezTo>
                  <a:cubicBezTo>
                    <a:pt x="51" y="224"/>
                    <a:pt x="0" y="174"/>
                    <a:pt x="0" y="112"/>
                  </a:cubicBezTo>
                  <a:cubicBezTo>
                    <a:pt x="0" y="50"/>
                    <a:pt x="51" y="0"/>
                    <a:pt x="112" y="0"/>
                  </a:cubicBezTo>
                  <a:moveTo>
                    <a:pt x="112" y="216"/>
                  </a:moveTo>
                  <a:cubicBezTo>
                    <a:pt x="170" y="216"/>
                    <a:pt x="216" y="169"/>
                    <a:pt x="216" y="112"/>
                  </a:cubicBezTo>
                  <a:cubicBezTo>
                    <a:pt x="216" y="54"/>
                    <a:pt x="170" y="8"/>
                    <a:pt x="112" y="8"/>
                  </a:cubicBezTo>
                  <a:cubicBezTo>
                    <a:pt x="55" y="8"/>
                    <a:pt x="8" y="54"/>
                    <a:pt x="8" y="112"/>
                  </a:cubicBezTo>
                  <a:cubicBezTo>
                    <a:pt x="8" y="169"/>
                    <a:pt x="55" y="216"/>
                    <a:pt x="112" y="21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827920"/>
              <a:endParaRPr lang="en-US" sz="3734" dirty="0">
                <a:solidFill>
                  <a:srgbClr val="FFFFFF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6651843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artner, &quot;special&quot; slid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Tile"/>
          <p:cNvSpPr/>
          <p:nvPr userDrawn="1"/>
        </p:nvSpPr>
        <p:spPr bwMode="auto">
          <a:xfrm>
            <a:off x="8022143" y="6374275"/>
            <a:ext cx="14329334" cy="5646278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182792" tIns="91398" rIns="182792" bIns="91398" numCol="1" rtlCol="0" anchor="ctr" anchorCtr="0" compatLnSpc="1">
            <a:prstTxWarp prst="textNoShape">
              <a:avLst/>
            </a:prstTxWarp>
          </a:bodyPr>
          <a:lstStyle/>
          <a:p>
            <a:pPr algn="ctr" defTabSz="1827392"/>
            <a:endParaRPr lang="en-US" sz="4534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Arrow Bar"/>
          <p:cNvSpPr/>
          <p:nvPr userDrawn="1"/>
        </p:nvSpPr>
        <p:spPr bwMode="auto">
          <a:xfrm>
            <a:off x="8022143" y="3028950"/>
            <a:ext cx="14329334" cy="2999232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182792" tIns="91398" rIns="182792" bIns="91398" numCol="1" rtlCol="0" anchor="ctr" anchorCtr="0" compatLnSpc="1">
            <a:prstTxWarp prst="textNoShape">
              <a:avLst/>
            </a:prstTxWarp>
          </a:bodyPr>
          <a:lstStyle/>
          <a:p>
            <a:pPr algn="ctr" defTabSz="1827392"/>
            <a:endParaRPr lang="en-US" sz="4534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8360281" y="3173174"/>
            <a:ext cx="11102374" cy="2757288"/>
          </a:xfrm>
        </p:spPr>
        <p:txBody>
          <a:bodyPr anchor="ctr" anchorCtr="0">
            <a:noAutofit/>
            <a:scene3d>
              <a:camera prst="orthographicFront"/>
              <a:lightRig rig="flat" dir="t"/>
            </a:scene3d>
            <a:sp3d>
              <a:contourClr>
                <a:schemeClr val="tx2"/>
              </a:contourClr>
            </a:sp3d>
          </a:bodyPr>
          <a:lstStyle>
            <a:lvl1pPr marL="0" indent="0" algn="l" defTabSz="1827920" rtl="0" eaLnBrk="1" latinLnBrk="0" hangingPunct="1">
              <a:lnSpc>
                <a:spcPct val="90000"/>
              </a:lnSpc>
              <a:spcBef>
                <a:spcPct val="0"/>
              </a:spcBef>
              <a:buFont typeface="Arial" pitchFamily="34" charset="0"/>
              <a:buNone/>
              <a:defRPr lang="en-US" sz="10934" b="1" kern="1200" cap="none" spc="-200" baseline="0" dirty="0" smtClean="0">
                <a:ln w="3175">
                  <a:noFill/>
                </a:ln>
                <a:solidFill>
                  <a:schemeClr val="tx1">
                    <a:alpha val="99000"/>
                  </a:schemeClr>
                </a:soli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Partner</a:t>
            </a:r>
          </a:p>
        </p:txBody>
      </p:sp>
      <p:sp useBgFill="1">
        <p:nvSpPr>
          <p:cNvPr id="9" name="Left Mask"/>
          <p:cNvSpPr/>
          <p:nvPr userDrawn="1"/>
        </p:nvSpPr>
        <p:spPr bwMode="auto">
          <a:xfrm>
            <a:off x="-1" y="3028952"/>
            <a:ext cx="8022142" cy="2999232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792" tIns="91398" rIns="182792" bIns="9139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827392"/>
            <a:endParaRPr lang="en-US" sz="4534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360290" y="10363233"/>
            <a:ext cx="13224536" cy="923330"/>
          </a:xfrm>
        </p:spPr>
        <p:txBody>
          <a:bodyPr>
            <a:noAutofit/>
          </a:bodyPr>
          <a:lstStyle>
            <a:lvl1pPr marL="0" indent="0" algn="l" defTabSz="1827920" rtl="0" eaLnBrk="1" latinLnBrk="0" hangingPunct="1">
              <a:lnSpc>
                <a:spcPct val="90000"/>
              </a:lnSpc>
              <a:spcBef>
                <a:spcPts val="0"/>
              </a:spcBef>
              <a:buSzPct val="105000"/>
              <a:buFontTx/>
              <a:buNone/>
              <a:defRPr lang="en-US" sz="3200" kern="1200" dirty="0">
                <a:solidFill>
                  <a:schemeClr val="bg1">
                    <a:alpha val="99000"/>
                  </a:schemeClr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9139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8279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7418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36558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45697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5483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63977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73116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Circle Arrow"/>
          <p:cNvSpPr>
            <a:spLocks noEditPoints="1"/>
          </p:cNvSpPr>
          <p:nvPr userDrawn="1"/>
        </p:nvSpPr>
        <p:spPr bwMode="auto">
          <a:xfrm rot="5400000">
            <a:off x="19901879" y="3745895"/>
            <a:ext cx="1682750" cy="1683190"/>
          </a:xfrm>
          <a:custGeom>
            <a:avLst/>
            <a:gdLst>
              <a:gd name="T0" fmla="*/ 112 w 224"/>
              <a:gd name="T1" fmla="*/ 0 h 224"/>
              <a:gd name="T2" fmla="*/ 0 w 224"/>
              <a:gd name="T3" fmla="*/ 112 h 224"/>
              <a:gd name="T4" fmla="*/ 112 w 224"/>
              <a:gd name="T5" fmla="*/ 224 h 224"/>
              <a:gd name="T6" fmla="*/ 224 w 224"/>
              <a:gd name="T7" fmla="*/ 112 h 224"/>
              <a:gd name="T8" fmla="*/ 112 w 224"/>
              <a:gd name="T9" fmla="*/ 0 h 224"/>
              <a:gd name="T10" fmla="*/ 112 w 224"/>
              <a:gd name="T11" fmla="*/ 216 h 224"/>
              <a:gd name="T12" fmla="*/ 8 w 224"/>
              <a:gd name="T13" fmla="*/ 112 h 224"/>
              <a:gd name="T14" fmla="*/ 112 w 224"/>
              <a:gd name="T15" fmla="*/ 8 h 224"/>
              <a:gd name="T16" fmla="*/ 216 w 224"/>
              <a:gd name="T17" fmla="*/ 112 h 224"/>
              <a:gd name="T18" fmla="*/ 112 w 224"/>
              <a:gd name="T19" fmla="*/ 216 h 224"/>
              <a:gd name="T20" fmla="*/ 161 w 224"/>
              <a:gd name="T21" fmla="*/ 94 h 224"/>
              <a:gd name="T22" fmla="*/ 169 w 224"/>
              <a:gd name="T23" fmla="*/ 94 h 224"/>
              <a:gd name="T24" fmla="*/ 169 w 224"/>
              <a:gd name="T25" fmla="*/ 166 h 224"/>
              <a:gd name="T26" fmla="*/ 165 w 224"/>
              <a:gd name="T27" fmla="*/ 170 h 224"/>
              <a:gd name="T28" fmla="*/ 93 w 224"/>
              <a:gd name="T29" fmla="*/ 170 h 224"/>
              <a:gd name="T30" fmla="*/ 93 w 224"/>
              <a:gd name="T31" fmla="*/ 162 h 224"/>
              <a:gd name="T32" fmla="*/ 156 w 224"/>
              <a:gd name="T33" fmla="*/ 162 h 224"/>
              <a:gd name="T34" fmla="*/ 58 w 224"/>
              <a:gd name="T35" fmla="*/ 65 h 224"/>
              <a:gd name="T36" fmla="*/ 64 w 224"/>
              <a:gd name="T37" fmla="*/ 59 h 224"/>
              <a:gd name="T38" fmla="*/ 161 w 224"/>
              <a:gd name="T39" fmla="*/ 156 h 224"/>
              <a:gd name="T40" fmla="*/ 161 w 224"/>
              <a:gd name="T41" fmla="*/ 94 h 2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224" h="224">
                <a:moveTo>
                  <a:pt x="112" y="0"/>
                </a:moveTo>
                <a:cubicBezTo>
                  <a:pt x="50" y="0"/>
                  <a:pt x="0" y="50"/>
                  <a:pt x="0" y="112"/>
                </a:cubicBezTo>
                <a:cubicBezTo>
                  <a:pt x="0" y="174"/>
                  <a:pt x="50" y="224"/>
                  <a:pt x="112" y="224"/>
                </a:cubicBezTo>
                <a:cubicBezTo>
                  <a:pt x="173" y="224"/>
                  <a:pt x="224" y="174"/>
                  <a:pt x="224" y="112"/>
                </a:cubicBezTo>
                <a:cubicBezTo>
                  <a:pt x="224" y="50"/>
                  <a:pt x="173" y="0"/>
                  <a:pt x="112" y="0"/>
                </a:cubicBezTo>
                <a:close/>
                <a:moveTo>
                  <a:pt x="112" y="216"/>
                </a:moveTo>
                <a:cubicBezTo>
                  <a:pt x="54" y="216"/>
                  <a:pt x="8" y="169"/>
                  <a:pt x="8" y="112"/>
                </a:cubicBezTo>
                <a:cubicBezTo>
                  <a:pt x="8" y="54"/>
                  <a:pt x="54" y="8"/>
                  <a:pt x="112" y="8"/>
                </a:cubicBezTo>
                <a:cubicBezTo>
                  <a:pt x="169" y="8"/>
                  <a:pt x="216" y="54"/>
                  <a:pt x="216" y="112"/>
                </a:cubicBezTo>
                <a:cubicBezTo>
                  <a:pt x="216" y="169"/>
                  <a:pt x="169" y="216"/>
                  <a:pt x="112" y="216"/>
                </a:cubicBezTo>
                <a:close/>
                <a:moveTo>
                  <a:pt x="161" y="94"/>
                </a:moveTo>
                <a:cubicBezTo>
                  <a:pt x="169" y="94"/>
                  <a:pt x="169" y="94"/>
                  <a:pt x="169" y="94"/>
                </a:cubicBezTo>
                <a:cubicBezTo>
                  <a:pt x="169" y="166"/>
                  <a:pt x="169" y="166"/>
                  <a:pt x="169" y="166"/>
                </a:cubicBezTo>
                <a:cubicBezTo>
                  <a:pt x="169" y="168"/>
                  <a:pt x="168" y="170"/>
                  <a:pt x="165" y="170"/>
                </a:cubicBezTo>
                <a:cubicBezTo>
                  <a:pt x="93" y="170"/>
                  <a:pt x="93" y="170"/>
                  <a:pt x="93" y="170"/>
                </a:cubicBezTo>
                <a:cubicBezTo>
                  <a:pt x="93" y="162"/>
                  <a:pt x="93" y="162"/>
                  <a:pt x="93" y="162"/>
                </a:cubicBezTo>
                <a:cubicBezTo>
                  <a:pt x="156" y="162"/>
                  <a:pt x="156" y="162"/>
                  <a:pt x="156" y="162"/>
                </a:cubicBezTo>
                <a:cubicBezTo>
                  <a:pt x="58" y="65"/>
                  <a:pt x="58" y="65"/>
                  <a:pt x="58" y="65"/>
                </a:cubicBezTo>
                <a:cubicBezTo>
                  <a:pt x="64" y="59"/>
                  <a:pt x="64" y="59"/>
                  <a:pt x="64" y="59"/>
                </a:cubicBezTo>
                <a:cubicBezTo>
                  <a:pt x="161" y="156"/>
                  <a:pt x="161" y="156"/>
                  <a:pt x="161" y="156"/>
                </a:cubicBezTo>
                <a:lnTo>
                  <a:pt x="161" y="94"/>
                </a:lnTo>
                <a:close/>
              </a:path>
            </a:pathLst>
          </a:cu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txBody>
          <a:bodyPr vert="horz" wrap="square" lIns="182800" tIns="91402" rIns="182800" bIns="91402" numCol="1" anchor="t" anchorCtr="0" compatLnSpc="1">
            <a:prstTxWarp prst="textNoShape">
              <a:avLst/>
            </a:prstTxWarp>
          </a:bodyPr>
          <a:lstStyle/>
          <a:p>
            <a:pPr defTabSz="1827920"/>
            <a:endParaRPr lang="en-US" sz="3734" dirty="0">
              <a:solidFill>
                <a:srgbClr val="FFFFFF"/>
              </a:solidFill>
            </a:endParaRPr>
          </a:p>
        </p:txBody>
      </p:sp>
      <p:sp>
        <p:nvSpPr>
          <p:cNvPr id="11" name="TechEd Tile"/>
          <p:cNvSpPr/>
          <p:nvPr userDrawn="1"/>
        </p:nvSpPr>
        <p:spPr bwMode="auto">
          <a:xfrm>
            <a:off x="2044678" y="3028950"/>
            <a:ext cx="5652464" cy="2999232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182792" tIns="91398" rIns="182792" bIns="91398" numCol="1" rtlCol="0" anchor="ctr" anchorCtr="0" compatLnSpc="1">
            <a:prstTxWarp prst="textNoShape">
              <a:avLst/>
            </a:prstTxWarp>
          </a:bodyPr>
          <a:lstStyle/>
          <a:p>
            <a:pPr algn="ctr" defTabSz="1827392"/>
            <a:endParaRPr lang="en-US" sz="4534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2" name="TechEd Logo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530"/>
          <a:stretch/>
        </p:blipFill>
        <p:spPr bwMode="auto">
          <a:xfrm>
            <a:off x="2803366" y="3484990"/>
            <a:ext cx="4135088" cy="20871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 useBgFill="1">
        <p:nvSpPr>
          <p:cNvPr id="13" name="Top Mask"/>
          <p:cNvSpPr/>
          <p:nvPr userDrawn="1"/>
        </p:nvSpPr>
        <p:spPr bwMode="auto">
          <a:xfrm>
            <a:off x="2" y="3"/>
            <a:ext cx="24384000" cy="3028950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792" tIns="91398" rIns="182792" bIns="9139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827392"/>
            <a:endParaRPr lang="en-US" sz="4534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ea typeface="Segoe UI" pitchFamily="34" charset="0"/>
              <a:cs typeface="Segoe UI" pitchFamily="34" charset="0"/>
            </a:endParaRPr>
          </a:p>
        </p:txBody>
      </p:sp>
      <p:sp useBgFill="1">
        <p:nvSpPr>
          <p:cNvPr id="14" name="Right Mask"/>
          <p:cNvSpPr/>
          <p:nvPr userDrawn="1"/>
        </p:nvSpPr>
        <p:spPr bwMode="auto">
          <a:xfrm>
            <a:off x="22351501" y="3261639"/>
            <a:ext cx="2032530" cy="8309966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792" tIns="91398" rIns="182792" bIns="9139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827392"/>
            <a:endParaRPr lang="en-US" sz="4534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360284" y="6374301"/>
            <a:ext cx="13224536" cy="3046990"/>
          </a:xfrm>
        </p:spPr>
        <p:txBody>
          <a:bodyPr anchor="ctr" anchorCtr="0">
            <a:noAutofit/>
          </a:bodyPr>
          <a:lstStyle>
            <a:lvl1pPr algn="l" defTabSz="182792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8000" b="1" kern="1200" cap="none" spc="-200" baseline="0" dirty="0">
                <a:ln w="3175">
                  <a:noFill/>
                </a:ln>
                <a:solidFill>
                  <a:schemeClr val="accent1">
                    <a:alpha val="99000"/>
                  </a:schemeClr>
                </a:soli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 useBgFill="1">
        <p:nvSpPr>
          <p:cNvPr id="15" name="Bottom Mask"/>
          <p:cNvSpPr/>
          <p:nvPr userDrawn="1"/>
        </p:nvSpPr>
        <p:spPr bwMode="auto">
          <a:xfrm>
            <a:off x="8022173" y="12020553"/>
            <a:ext cx="16361858" cy="1695450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792" tIns="91398" rIns="182792" bIns="9139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827392"/>
            <a:endParaRPr lang="en-US" sz="4534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17" name="Blue Tile"/>
          <p:cNvGrpSpPr/>
          <p:nvPr userDrawn="1"/>
        </p:nvGrpSpPr>
        <p:grpSpPr>
          <a:xfrm>
            <a:off x="2032246" y="6379454"/>
            <a:ext cx="5655976" cy="5654504"/>
            <a:chOff x="1071620" y="3044261"/>
            <a:chExt cx="1325880" cy="1325880"/>
          </a:xfrm>
        </p:grpSpPr>
        <p:sp>
          <p:nvSpPr>
            <p:cNvPr id="18" name="Rectangle 17"/>
            <p:cNvSpPr/>
            <p:nvPr/>
          </p:nvSpPr>
          <p:spPr bwMode="auto">
            <a:xfrm>
              <a:off x="1071620" y="3044261"/>
              <a:ext cx="1325880" cy="1325880"/>
            </a:xfrm>
            <a:prstGeom prst="rect">
              <a:avLst/>
            </a:prstGeom>
            <a:solidFill>
              <a:schemeClr val="accent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vert="horz" wrap="square" lIns="91436" tIns="45718" rIns="91436" bIns="45718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1827392"/>
              <a:endParaRPr lang="en-US" sz="4534" dirty="0">
                <a:solidFill>
                  <a:srgbClr val="FFFFFF">
                    <a:lumMod val="20000"/>
                    <a:lumOff val="80000"/>
                    <a:alpha val="99000"/>
                  </a:srgbClr>
                </a:soli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2" name="Freeform 13"/>
            <p:cNvSpPr>
              <a:spLocks noEditPoints="1"/>
            </p:cNvSpPr>
            <p:nvPr/>
          </p:nvSpPr>
          <p:spPr bwMode="auto">
            <a:xfrm>
              <a:off x="1316254" y="3284926"/>
              <a:ext cx="836612" cy="841375"/>
            </a:xfrm>
            <a:custGeom>
              <a:avLst/>
              <a:gdLst>
                <a:gd name="T0" fmla="*/ 183 w 223"/>
                <a:gd name="T1" fmla="*/ 108 h 224"/>
                <a:gd name="T2" fmla="*/ 154 w 223"/>
                <a:gd name="T3" fmla="*/ 120 h 224"/>
                <a:gd name="T4" fmla="*/ 135 w 223"/>
                <a:gd name="T5" fmla="*/ 101 h 224"/>
                <a:gd name="T6" fmla="*/ 154 w 223"/>
                <a:gd name="T7" fmla="*/ 59 h 224"/>
                <a:gd name="T8" fmla="*/ 96 w 223"/>
                <a:gd name="T9" fmla="*/ 0 h 224"/>
                <a:gd name="T10" fmla="*/ 37 w 223"/>
                <a:gd name="T11" fmla="*/ 59 h 224"/>
                <a:gd name="T12" fmla="*/ 64 w 223"/>
                <a:gd name="T13" fmla="*/ 107 h 224"/>
                <a:gd name="T14" fmla="*/ 52 w 223"/>
                <a:gd name="T15" fmla="*/ 145 h 224"/>
                <a:gd name="T16" fmla="*/ 41 w 223"/>
                <a:gd name="T17" fmla="*/ 143 h 224"/>
                <a:gd name="T18" fmla="*/ 0 w 223"/>
                <a:gd name="T19" fmla="*/ 183 h 224"/>
                <a:gd name="T20" fmla="*/ 41 w 223"/>
                <a:gd name="T21" fmla="*/ 224 h 224"/>
                <a:gd name="T22" fmla="*/ 81 w 223"/>
                <a:gd name="T23" fmla="*/ 183 h 224"/>
                <a:gd name="T24" fmla="*/ 60 w 223"/>
                <a:gd name="T25" fmla="*/ 148 h 224"/>
                <a:gd name="T26" fmla="*/ 71 w 223"/>
                <a:gd name="T27" fmla="*/ 111 h 224"/>
                <a:gd name="T28" fmla="*/ 96 w 223"/>
                <a:gd name="T29" fmla="*/ 117 h 224"/>
                <a:gd name="T30" fmla="*/ 129 w 223"/>
                <a:gd name="T31" fmla="*/ 106 h 224"/>
                <a:gd name="T32" fmla="*/ 149 w 223"/>
                <a:gd name="T33" fmla="*/ 126 h 224"/>
                <a:gd name="T34" fmla="*/ 143 w 223"/>
                <a:gd name="T35" fmla="*/ 148 h 224"/>
                <a:gd name="T36" fmla="*/ 183 w 223"/>
                <a:gd name="T37" fmla="*/ 189 h 224"/>
                <a:gd name="T38" fmla="*/ 223 w 223"/>
                <a:gd name="T39" fmla="*/ 148 h 224"/>
                <a:gd name="T40" fmla="*/ 183 w 223"/>
                <a:gd name="T41" fmla="*/ 108 h 224"/>
                <a:gd name="T42" fmla="*/ 73 w 223"/>
                <a:gd name="T43" fmla="*/ 183 h 224"/>
                <a:gd name="T44" fmla="*/ 41 w 223"/>
                <a:gd name="T45" fmla="*/ 216 h 224"/>
                <a:gd name="T46" fmla="*/ 8 w 223"/>
                <a:gd name="T47" fmla="*/ 183 h 224"/>
                <a:gd name="T48" fmla="*/ 41 w 223"/>
                <a:gd name="T49" fmla="*/ 151 h 224"/>
                <a:gd name="T50" fmla="*/ 73 w 223"/>
                <a:gd name="T51" fmla="*/ 183 h 224"/>
                <a:gd name="T52" fmla="*/ 45 w 223"/>
                <a:gd name="T53" fmla="*/ 59 h 224"/>
                <a:gd name="T54" fmla="*/ 96 w 223"/>
                <a:gd name="T55" fmla="*/ 8 h 224"/>
                <a:gd name="T56" fmla="*/ 146 w 223"/>
                <a:gd name="T57" fmla="*/ 59 h 224"/>
                <a:gd name="T58" fmla="*/ 96 w 223"/>
                <a:gd name="T59" fmla="*/ 109 h 224"/>
                <a:gd name="T60" fmla="*/ 45 w 223"/>
                <a:gd name="T61" fmla="*/ 59 h 224"/>
                <a:gd name="T62" fmla="*/ 183 w 223"/>
                <a:gd name="T63" fmla="*/ 181 h 224"/>
                <a:gd name="T64" fmla="*/ 151 w 223"/>
                <a:gd name="T65" fmla="*/ 148 h 224"/>
                <a:gd name="T66" fmla="*/ 183 w 223"/>
                <a:gd name="T67" fmla="*/ 116 h 224"/>
                <a:gd name="T68" fmla="*/ 215 w 223"/>
                <a:gd name="T69" fmla="*/ 148 h 224"/>
                <a:gd name="T70" fmla="*/ 183 w 223"/>
                <a:gd name="T71" fmla="*/ 181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23" h="224">
                  <a:moveTo>
                    <a:pt x="183" y="108"/>
                  </a:moveTo>
                  <a:cubicBezTo>
                    <a:pt x="172" y="108"/>
                    <a:pt x="162" y="113"/>
                    <a:pt x="154" y="120"/>
                  </a:cubicBezTo>
                  <a:cubicBezTo>
                    <a:pt x="135" y="101"/>
                    <a:pt x="135" y="101"/>
                    <a:pt x="135" y="101"/>
                  </a:cubicBezTo>
                  <a:cubicBezTo>
                    <a:pt x="147" y="90"/>
                    <a:pt x="154" y="75"/>
                    <a:pt x="154" y="59"/>
                  </a:cubicBezTo>
                  <a:cubicBezTo>
                    <a:pt x="154" y="26"/>
                    <a:pt x="128" y="0"/>
                    <a:pt x="96" y="0"/>
                  </a:cubicBezTo>
                  <a:cubicBezTo>
                    <a:pt x="64" y="0"/>
                    <a:pt x="37" y="26"/>
                    <a:pt x="37" y="59"/>
                  </a:cubicBezTo>
                  <a:cubicBezTo>
                    <a:pt x="37" y="79"/>
                    <a:pt x="48" y="97"/>
                    <a:pt x="64" y="107"/>
                  </a:cubicBezTo>
                  <a:cubicBezTo>
                    <a:pt x="52" y="145"/>
                    <a:pt x="52" y="145"/>
                    <a:pt x="52" y="145"/>
                  </a:cubicBezTo>
                  <a:cubicBezTo>
                    <a:pt x="49" y="144"/>
                    <a:pt x="45" y="143"/>
                    <a:pt x="41" y="143"/>
                  </a:cubicBezTo>
                  <a:cubicBezTo>
                    <a:pt x="18" y="143"/>
                    <a:pt x="0" y="161"/>
                    <a:pt x="0" y="183"/>
                  </a:cubicBezTo>
                  <a:cubicBezTo>
                    <a:pt x="0" y="206"/>
                    <a:pt x="18" y="224"/>
                    <a:pt x="41" y="224"/>
                  </a:cubicBezTo>
                  <a:cubicBezTo>
                    <a:pt x="63" y="224"/>
                    <a:pt x="81" y="206"/>
                    <a:pt x="81" y="183"/>
                  </a:cubicBezTo>
                  <a:cubicBezTo>
                    <a:pt x="81" y="168"/>
                    <a:pt x="72" y="155"/>
                    <a:pt x="60" y="148"/>
                  </a:cubicBezTo>
                  <a:cubicBezTo>
                    <a:pt x="71" y="111"/>
                    <a:pt x="71" y="111"/>
                    <a:pt x="71" y="111"/>
                  </a:cubicBezTo>
                  <a:cubicBezTo>
                    <a:pt x="78" y="115"/>
                    <a:pt x="87" y="117"/>
                    <a:pt x="96" y="117"/>
                  </a:cubicBezTo>
                  <a:cubicBezTo>
                    <a:pt x="108" y="117"/>
                    <a:pt x="120" y="113"/>
                    <a:pt x="129" y="106"/>
                  </a:cubicBezTo>
                  <a:cubicBezTo>
                    <a:pt x="149" y="126"/>
                    <a:pt x="149" y="126"/>
                    <a:pt x="149" y="126"/>
                  </a:cubicBezTo>
                  <a:cubicBezTo>
                    <a:pt x="145" y="133"/>
                    <a:pt x="143" y="140"/>
                    <a:pt x="143" y="148"/>
                  </a:cubicBezTo>
                  <a:cubicBezTo>
                    <a:pt x="143" y="171"/>
                    <a:pt x="161" y="189"/>
                    <a:pt x="183" y="189"/>
                  </a:cubicBezTo>
                  <a:cubicBezTo>
                    <a:pt x="205" y="189"/>
                    <a:pt x="223" y="171"/>
                    <a:pt x="223" y="148"/>
                  </a:cubicBezTo>
                  <a:cubicBezTo>
                    <a:pt x="223" y="126"/>
                    <a:pt x="205" y="108"/>
                    <a:pt x="183" y="108"/>
                  </a:cubicBezTo>
                  <a:close/>
                  <a:moveTo>
                    <a:pt x="73" y="183"/>
                  </a:moveTo>
                  <a:cubicBezTo>
                    <a:pt x="73" y="201"/>
                    <a:pt x="58" y="216"/>
                    <a:pt x="41" y="216"/>
                  </a:cubicBezTo>
                  <a:cubicBezTo>
                    <a:pt x="23" y="216"/>
                    <a:pt x="8" y="201"/>
                    <a:pt x="8" y="183"/>
                  </a:cubicBezTo>
                  <a:cubicBezTo>
                    <a:pt x="8" y="166"/>
                    <a:pt x="23" y="151"/>
                    <a:pt x="41" y="151"/>
                  </a:cubicBezTo>
                  <a:cubicBezTo>
                    <a:pt x="58" y="151"/>
                    <a:pt x="73" y="166"/>
                    <a:pt x="73" y="183"/>
                  </a:cubicBezTo>
                  <a:close/>
                  <a:moveTo>
                    <a:pt x="45" y="59"/>
                  </a:moveTo>
                  <a:cubicBezTo>
                    <a:pt x="45" y="31"/>
                    <a:pt x="68" y="8"/>
                    <a:pt x="96" y="8"/>
                  </a:cubicBezTo>
                  <a:cubicBezTo>
                    <a:pt x="123" y="8"/>
                    <a:pt x="146" y="31"/>
                    <a:pt x="146" y="59"/>
                  </a:cubicBezTo>
                  <a:cubicBezTo>
                    <a:pt x="146" y="86"/>
                    <a:pt x="123" y="109"/>
                    <a:pt x="96" y="109"/>
                  </a:cubicBezTo>
                  <a:cubicBezTo>
                    <a:pt x="68" y="109"/>
                    <a:pt x="45" y="86"/>
                    <a:pt x="45" y="59"/>
                  </a:cubicBezTo>
                  <a:close/>
                  <a:moveTo>
                    <a:pt x="183" y="181"/>
                  </a:moveTo>
                  <a:cubicBezTo>
                    <a:pt x="165" y="181"/>
                    <a:pt x="151" y="166"/>
                    <a:pt x="151" y="148"/>
                  </a:cubicBezTo>
                  <a:cubicBezTo>
                    <a:pt x="151" y="130"/>
                    <a:pt x="165" y="116"/>
                    <a:pt x="183" y="116"/>
                  </a:cubicBezTo>
                  <a:cubicBezTo>
                    <a:pt x="201" y="116"/>
                    <a:pt x="215" y="130"/>
                    <a:pt x="215" y="148"/>
                  </a:cubicBezTo>
                  <a:cubicBezTo>
                    <a:pt x="215" y="166"/>
                    <a:pt x="201" y="181"/>
                    <a:pt x="183" y="18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827920"/>
              <a:endParaRPr lang="en-US" sz="3734" dirty="0">
                <a:solidFill>
                  <a:srgbClr val="FFFFFF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26237325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er, &quot;special&quot; slid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Tile"/>
          <p:cNvSpPr/>
          <p:nvPr userDrawn="1"/>
        </p:nvSpPr>
        <p:spPr bwMode="auto">
          <a:xfrm>
            <a:off x="8022143" y="6374275"/>
            <a:ext cx="14329334" cy="5646278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182792" tIns="91398" rIns="182792" bIns="91398" numCol="1" rtlCol="0" anchor="ctr" anchorCtr="0" compatLnSpc="1">
            <a:prstTxWarp prst="textNoShape">
              <a:avLst/>
            </a:prstTxWarp>
          </a:bodyPr>
          <a:lstStyle/>
          <a:p>
            <a:pPr algn="ctr" defTabSz="1827392"/>
            <a:endParaRPr lang="en-US" sz="4534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Arrow Bar"/>
          <p:cNvSpPr/>
          <p:nvPr userDrawn="1"/>
        </p:nvSpPr>
        <p:spPr bwMode="auto">
          <a:xfrm>
            <a:off x="8022143" y="3028950"/>
            <a:ext cx="14329334" cy="2999232"/>
          </a:xfrm>
          <a:prstGeom prst="rect">
            <a:avLst/>
          </a:prstGeom>
          <a:solidFill>
            <a:schemeClr val="accent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182792" tIns="91398" rIns="182792" bIns="91398" numCol="1" rtlCol="0" anchor="ctr" anchorCtr="0" compatLnSpc="1">
            <a:prstTxWarp prst="textNoShape">
              <a:avLst/>
            </a:prstTxWarp>
          </a:bodyPr>
          <a:lstStyle/>
          <a:p>
            <a:pPr algn="ctr" defTabSz="1827392"/>
            <a:endParaRPr lang="en-US" sz="4534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8360281" y="3173174"/>
            <a:ext cx="11102374" cy="2757288"/>
          </a:xfrm>
        </p:spPr>
        <p:txBody>
          <a:bodyPr anchor="ctr" anchorCtr="0">
            <a:noAutofit/>
            <a:scene3d>
              <a:camera prst="orthographicFront"/>
              <a:lightRig rig="flat" dir="t"/>
            </a:scene3d>
            <a:sp3d>
              <a:contourClr>
                <a:schemeClr val="tx2"/>
              </a:contourClr>
            </a:sp3d>
          </a:bodyPr>
          <a:lstStyle>
            <a:lvl1pPr marL="0" indent="0" algn="l" defTabSz="1827920" rtl="0" eaLnBrk="1" latinLnBrk="0" hangingPunct="1">
              <a:lnSpc>
                <a:spcPct val="90000"/>
              </a:lnSpc>
              <a:spcBef>
                <a:spcPct val="0"/>
              </a:spcBef>
              <a:buFont typeface="Arial" pitchFamily="34" charset="0"/>
              <a:buNone/>
              <a:defRPr lang="en-US" sz="10934" b="1" kern="1200" cap="none" spc="-200" baseline="0" dirty="0" smtClean="0">
                <a:ln w="3175">
                  <a:noFill/>
                </a:ln>
                <a:solidFill>
                  <a:schemeClr val="tx1">
                    <a:alpha val="99000"/>
                  </a:schemeClr>
                </a:soli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Customer</a:t>
            </a:r>
          </a:p>
        </p:txBody>
      </p:sp>
      <p:sp useBgFill="1">
        <p:nvSpPr>
          <p:cNvPr id="9" name="Left Mask"/>
          <p:cNvSpPr/>
          <p:nvPr userDrawn="1"/>
        </p:nvSpPr>
        <p:spPr bwMode="auto">
          <a:xfrm>
            <a:off x="-1" y="3028952"/>
            <a:ext cx="8022142" cy="2999232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792" tIns="91398" rIns="182792" bIns="9139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827392"/>
            <a:endParaRPr lang="en-US" sz="4534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360290" y="10363233"/>
            <a:ext cx="13224536" cy="923330"/>
          </a:xfrm>
        </p:spPr>
        <p:txBody>
          <a:bodyPr>
            <a:noAutofit/>
          </a:bodyPr>
          <a:lstStyle>
            <a:lvl1pPr marL="0" indent="0" algn="l" defTabSz="1827920" rtl="0" eaLnBrk="1" latinLnBrk="0" hangingPunct="1">
              <a:lnSpc>
                <a:spcPct val="90000"/>
              </a:lnSpc>
              <a:spcBef>
                <a:spcPts val="0"/>
              </a:spcBef>
              <a:buSzPct val="105000"/>
              <a:buFontTx/>
              <a:buNone/>
              <a:defRPr lang="en-US" sz="3200" kern="1200" dirty="0">
                <a:solidFill>
                  <a:schemeClr val="bg1">
                    <a:alpha val="99000"/>
                  </a:schemeClr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9139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8279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7418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36558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45697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5483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63977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73116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Circle Arrow"/>
          <p:cNvSpPr>
            <a:spLocks noEditPoints="1"/>
          </p:cNvSpPr>
          <p:nvPr userDrawn="1"/>
        </p:nvSpPr>
        <p:spPr bwMode="auto">
          <a:xfrm rot="5400000">
            <a:off x="19901879" y="3745895"/>
            <a:ext cx="1682750" cy="1683190"/>
          </a:xfrm>
          <a:custGeom>
            <a:avLst/>
            <a:gdLst>
              <a:gd name="T0" fmla="*/ 112 w 224"/>
              <a:gd name="T1" fmla="*/ 0 h 224"/>
              <a:gd name="T2" fmla="*/ 0 w 224"/>
              <a:gd name="T3" fmla="*/ 112 h 224"/>
              <a:gd name="T4" fmla="*/ 112 w 224"/>
              <a:gd name="T5" fmla="*/ 224 h 224"/>
              <a:gd name="T6" fmla="*/ 224 w 224"/>
              <a:gd name="T7" fmla="*/ 112 h 224"/>
              <a:gd name="T8" fmla="*/ 112 w 224"/>
              <a:gd name="T9" fmla="*/ 0 h 224"/>
              <a:gd name="T10" fmla="*/ 112 w 224"/>
              <a:gd name="T11" fmla="*/ 216 h 224"/>
              <a:gd name="T12" fmla="*/ 8 w 224"/>
              <a:gd name="T13" fmla="*/ 112 h 224"/>
              <a:gd name="T14" fmla="*/ 112 w 224"/>
              <a:gd name="T15" fmla="*/ 8 h 224"/>
              <a:gd name="T16" fmla="*/ 216 w 224"/>
              <a:gd name="T17" fmla="*/ 112 h 224"/>
              <a:gd name="T18" fmla="*/ 112 w 224"/>
              <a:gd name="T19" fmla="*/ 216 h 224"/>
              <a:gd name="T20" fmla="*/ 161 w 224"/>
              <a:gd name="T21" fmla="*/ 94 h 224"/>
              <a:gd name="T22" fmla="*/ 169 w 224"/>
              <a:gd name="T23" fmla="*/ 94 h 224"/>
              <a:gd name="T24" fmla="*/ 169 w 224"/>
              <a:gd name="T25" fmla="*/ 166 h 224"/>
              <a:gd name="T26" fmla="*/ 165 w 224"/>
              <a:gd name="T27" fmla="*/ 170 h 224"/>
              <a:gd name="T28" fmla="*/ 93 w 224"/>
              <a:gd name="T29" fmla="*/ 170 h 224"/>
              <a:gd name="T30" fmla="*/ 93 w 224"/>
              <a:gd name="T31" fmla="*/ 162 h 224"/>
              <a:gd name="T32" fmla="*/ 156 w 224"/>
              <a:gd name="T33" fmla="*/ 162 h 224"/>
              <a:gd name="T34" fmla="*/ 58 w 224"/>
              <a:gd name="T35" fmla="*/ 65 h 224"/>
              <a:gd name="T36" fmla="*/ 64 w 224"/>
              <a:gd name="T37" fmla="*/ 59 h 224"/>
              <a:gd name="T38" fmla="*/ 161 w 224"/>
              <a:gd name="T39" fmla="*/ 156 h 224"/>
              <a:gd name="T40" fmla="*/ 161 w 224"/>
              <a:gd name="T41" fmla="*/ 94 h 2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224" h="224">
                <a:moveTo>
                  <a:pt x="112" y="0"/>
                </a:moveTo>
                <a:cubicBezTo>
                  <a:pt x="50" y="0"/>
                  <a:pt x="0" y="50"/>
                  <a:pt x="0" y="112"/>
                </a:cubicBezTo>
                <a:cubicBezTo>
                  <a:pt x="0" y="174"/>
                  <a:pt x="50" y="224"/>
                  <a:pt x="112" y="224"/>
                </a:cubicBezTo>
                <a:cubicBezTo>
                  <a:pt x="173" y="224"/>
                  <a:pt x="224" y="174"/>
                  <a:pt x="224" y="112"/>
                </a:cubicBezTo>
                <a:cubicBezTo>
                  <a:pt x="224" y="50"/>
                  <a:pt x="173" y="0"/>
                  <a:pt x="112" y="0"/>
                </a:cubicBezTo>
                <a:close/>
                <a:moveTo>
                  <a:pt x="112" y="216"/>
                </a:moveTo>
                <a:cubicBezTo>
                  <a:pt x="54" y="216"/>
                  <a:pt x="8" y="169"/>
                  <a:pt x="8" y="112"/>
                </a:cubicBezTo>
                <a:cubicBezTo>
                  <a:pt x="8" y="54"/>
                  <a:pt x="54" y="8"/>
                  <a:pt x="112" y="8"/>
                </a:cubicBezTo>
                <a:cubicBezTo>
                  <a:pt x="169" y="8"/>
                  <a:pt x="216" y="54"/>
                  <a:pt x="216" y="112"/>
                </a:cubicBezTo>
                <a:cubicBezTo>
                  <a:pt x="216" y="169"/>
                  <a:pt x="169" y="216"/>
                  <a:pt x="112" y="216"/>
                </a:cubicBezTo>
                <a:close/>
                <a:moveTo>
                  <a:pt x="161" y="94"/>
                </a:moveTo>
                <a:cubicBezTo>
                  <a:pt x="169" y="94"/>
                  <a:pt x="169" y="94"/>
                  <a:pt x="169" y="94"/>
                </a:cubicBezTo>
                <a:cubicBezTo>
                  <a:pt x="169" y="166"/>
                  <a:pt x="169" y="166"/>
                  <a:pt x="169" y="166"/>
                </a:cubicBezTo>
                <a:cubicBezTo>
                  <a:pt x="169" y="168"/>
                  <a:pt x="168" y="170"/>
                  <a:pt x="165" y="170"/>
                </a:cubicBezTo>
                <a:cubicBezTo>
                  <a:pt x="93" y="170"/>
                  <a:pt x="93" y="170"/>
                  <a:pt x="93" y="170"/>
                </a:cubicBezTo>
                <a:cubicBezTo>
                  <a:pt x="93" y="162"/>
                  <a:pt x="93" y="162"/>
                  <a:pt x="93" y="162"/>
                </a:cubicBezTo>
                <a:cubicBezTo>
                  <a:pt x="156" y="162"/>
                  <a:pt x="156" y="162"/>
                  <a:pt x="156" y="162"/>
                </a:cubicBezTo>
                <a:cubicBezTo>
                  <a:pt x="58" y="65"/>
                  <a:pt x="58" y="65"/>
                  <a:pt x="58" y="65"/>
                </a:cubicBezTo>
                <a:cubicBezTo>
                  <a:pt x="64" y="59"/>
                  <a:pt x="64" y="59"/>
                  <a:pt x="64" y="59"/>
                </a:cubicBezTo>
                <a:cubicBezTo>
                  <a:pt x="161" y="156"/>
                  <a:pt x="161" y="156"/>
                  <a:pt x="161" y="156"/>
                </a:cubicBezTo>
                <a:lnTo>
                  <a:pt x="161" y="94"/>
                </a:lnTo>
                <a:close/>
              </a:path>
            </a:pathLst>
          </a:cu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txBody>
          <a:bodyPr vert="horz" wrap="square" lIns="182800" tIns="91402" rIns="182800" bIns="91402" numCol="1" anchor="t" anchorCtr="0" compatLnSpc="1">
            <a:prstTxWarp prst="textNoShape">
              <a:avLst/>
            </a:prstTxWarp>
          </a:bodyPr>
          <a:lstStyle/>
          <a:p>
            <a:pPr defTabSz="1827920"/>
            <a:endParaRPr lang="en-US" sz="3734" dirty="0">
              <a:solidFill>
                <a:srgbClr val="FFFFFF"/>
              </a:solidFill>
            </a:endParaRPr>
          </a:p>
        </p:txBody>
      </p:sp>
      <p:sp>
        <p:nvSpPr>
          <p:cNvPr id="11" name="TechEd Tile"/>
          <p:cNvSpPr/>
          <p:nvPr userDrawn="1"/>
        </p:nvSpPr>
        <p:spPr bwMode="auto">
          <a:xfrm>
            <a:off x="2044678" y="3028950"/>
            <a:ext cx="5652464" cy="2999232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182792" tIns="91398" rIns="182792" bIns="91398" numCol="1" rtlCol="0" anchor="ctr" anchorCtr="0" compatLnSpc="1">
            <a:prstTxWarp prst="textNoShape">
              <a:avLst/>
            </a:prstTxWarp>
          </a:bodyPr>
          <a:lstStyle/>
          <a:p>
            <a:pPr algn="ctr" defTabSz="1827392"/>
            <a:endParaRPr lang="en-US" sz="4534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2" name="TechEd Logo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530"/>
          <a:stretch/>
        </p:blipFill>
        <p:spPr bwMode="auto">
          <a:xfrm>
            <a:off x="2803366" y="3484990"/>
            <a:ext cx="4135088" cy="20871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 useBgFill="1">
        <p:nvSpPr>
          <p:cNvPr id="13" name="Top Mask"/>
          <p:cNvSpPr/>
          <p:nvPr userDrawn="1"/>
        </p:nvSpPr>
        <p:spPr bwMode="auto">
          <a:xfrm>
            <a:off x="2" y="3"/>
            <a:ext cx="24384000" cy="3028950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792" tIns="91398" rIns="182792" bIns="9139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827392"/>
            <a:endParaRPr lang="en-US" sz="4534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ea typeface="Segoe UI" pitchFamily="34" charset="0"/>
              <a:cs typeface="Segoe UI" pitchFamily="34" charset="0"/>
            </a:endParaRPr>
          </a:p>
        </p:txBody>
      </p:sp>
      <p:sp useBgFill="1">
        <p:nvSpPr>
          <p:cNvPr id="14" name="Right Mask"/>
          <p:cNvSpPr/>
          <p:nvPr userDrawn="1"/>
        </p:nvSpPr>
        <p:spPr bwMode="auto">
          <a:xfrm>
            <a:off x="22351501" y="3261639"/>
            <a:ext cx="2032530" cy="8309966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792" tIns="91398" rIns="182792" bIns="9139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827392"/>
            <a:endParaRPr lang="en-US" sz="4534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360284" y="6374301"/>
            <a:ext cx="13224536" cy="3046990"/>
          </a:xfrm>
        </p:spPr>
        <p:txBody>
          <a:bodyPr anchor="ctr" anchorCtr="0">
            <a:noAutofit/>
          </a:bodyPr>
          <a:lstStyle>
            <a:lvl1pPr algn="l" defTabSz="182792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8000" b="1" kern="1200" cap="none" spc="-200" baseline="0" dirty="0">
                <a:ln w="3175">
                  <a:noFill/>
                </a:ln>
                <a:solidFill>
                  <a:schemeClr val="accent2">
                    <a:alpha val="99000"/>
                  </a:schemeClr>
                </a:soli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 useBgFill="1">
        <p:nvSpPr>
          <p:cNvPr id="15" name="Bottom Mask"/>
          <p:cNvSpPr/>
          <p:nvPr userDrawn="1"/>
        </p:nvSpPr>
        <p:spPr bwMode="auto">
          <a:xfrm>
            <a:off x="8022173" y="12020553"/>
            <a:ext cx="16361858" cy="1695450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792" tIns="91398" rIns="182792" bIns="9139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827392"/>
            <a:endParaRPr lang="en-US" sz="4534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19" name="Purple Tile"/>
          <p:cNvGrpSpPr/>
          <p:nvPr userDrawn="1"/>
        </p:nvGrpSpPr>
        <p:grpSpPr>
          <a:xfrm>
            <a:off x="2035758" y="6374278"/>
            <a:ext cx="5655976" cy="5654504"/>
            <a:chOff x="1022073" y="-1624298"/>
            <a:chExt cx="2827252" cy="2827252"/>
          </a:xfrm>
        </p:grpSpPr>
        <p:sp>
          <p:nvSpPr>
            <p:cNvPr id="20" name="Rectangle 19"/>
            <p:cNvSpPr/>
            <p:nvPr/>
          </p:nvSpPr>
          <p:spPr bwMode="auto">
            <a:xfrm>
              <a:off x="1022073" y="-1624298"/>
              <a:ext cx="2827252" cy="2827252"/>
            </a:xfrm>
            <a:prstGeom prst="rect">
              <a:avLst/>
            </a:prstGeom>
            <a:solidFill>
              <a:schemeClr val="accent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vert="horz" wrap="square" lIns="91436" tIns="45718" rIns="91436" bIns="45718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1827392"/>
              <a:endParaRPr lang="en-US" sz="4534" dirty="0">
                <a:solidFill>
                  <a:srgbClr val="FFFFFF">
                    <a:lumMod val="20000"/>
                    <a:lumOff val="80000"/>
                    <a:alpha val="99000"/>
                  </a:srgbClr>
                </a:soli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1" name="Freeform 8"/>
            <p:cNvSpPr>
              <a:spLocks noEditPoints="1"/>
            </p:cNvSpPr>
            <p:nvPr/>
          </p:nvSpPr>
          <p:spPr bwMode="auto">
            <a:xfrm>
              <a:off x="1537798" y="-867430"/>
              <a:ext cx="1792288" cy="1501775"/>
            </a:xfrm>
            <a:custGeom>
              <a:avLst/>
              <a:gdLst>
                <a:gd name="T0" fmla="*/ 184 w 223"/>
                <a:gd name="T1" fmla="*/ 187 h 187"/>
                <a:gd name="T2" fmla="*/ 181 w 223"/>
                <a:gd name="T3" fmla="*/ 186 h 187"/>
                <a:gd name="T4" fmla="*/ 146 w 223"/>
                <a:gd name="T5" fmla="*/ 151 h 187"/>
                <a:gd name="T6" fmla="*/ 40 w 223"/>
                <a:gd name="T7" fmla="*/ 151 h 187"/>
                <a:gd name="T8" fmla="*/ 0 w 223"/>
                <a:gd name="T9" fmla="*/ 111 h 187"/>
                <a:gd name="T10" fmla="*/ 0 w 223"/>
                <a:gd name="T11" fmla="*/ 40 h 187"/>
                <a:gd name="T12" fmla="*/ 40 w 223"/>
                <a:gd name="T13" fmla="*/ 0 h 187"/>
                <a:gd name="T14" fmla="*/ 183 w 223"/>
                <a:gd name="T15" fmla="*/ 0 h 187"/>
                <a:gd name="T16" fmla="*/ 223 w 223"/>
                <a:gd name="T17" fmla="*/ 40 h 187"/>
                <a:gd name="T18" fmla="*/ 223 w 223"/>
                <a:gd name="T19" fmla="*/ 111 h 187"/>
                <a:gd name="T20" fmla="*/ 188 w 223"/>
                <a:gd name="T21" fmla="*/ 150 h 187"/>
                <a:gd name="T22" fmla="*/ 188 w 223"/>
                <a:gd name="T23" fmla="*/ 183 h 187"/>
                <a:gd name="T24" fmla="*/ 185 w 223"/>
                <a:gd name="T25" fmla="*/ 187 h 187"/>
                <a:gd name="T26" fmla="*/ 184 w 223"/>
                <a:gd name="T27" fmla="*/ 187 h 187"/>
                <a:gd name="T28" fmla="*/ 40 w 223"/>
                <a:gd name="T29" fmla="*/ 8 h 187"/>
                <a:gd name="T30" fmla="*/ 8 w 223"/>
                <a:gd name="T31" fmla="*/ 40 h 187"/>
                <a:gd name="T32" fmla="*/ 8 w 223"/>
                <a:gd name="T33" fmla="*/ 111 h 187"/>
                <a:gd name="T34" fmla="*/ 40 w 223"/>
                <a:gd name="T35" fmla="*/ 143 h 187"/>
                <a:gd name="T36" fmla="*/ 148 w 223"/>
                <a:gd name="T37" fmla="*/ 143 h 187"/>
                <a:gd name="T38" fmla="*/ 151 w 223"/>
                <a:gd name="T39" fmla="*/ 144 h 187"/>
                <a:gd name="T40" fmla="*/ 180 w 223"/>
                <a:gd name="T41" fmla="*/ 173 h 187"/>
                <a:gd name="T42" fmla="*/ 180 w 223"/>
                <a:gd name="T43" fmla="*/ 147 h 187"/>
                <a:gd name="T44" fmla="*/ 184 w 223"/>
                <a:gd name="T45" fmla="*/ 143 h 187"/>
                <a:gd name="T46" fmla="*/ 215 w 223"/>
                <a:gd name="T47" fmla="*/ 111 h 187"/>
                <a:gd name="T48" fmla="*/ 215 w 223"/>
                <a:gd name="T49" fmla="*/ 40 h 187"/>
                <a:gd name="T50" fmla="*/ 183 w 223"/>
                <a:gd name="T51" fmla="*/ 8 h 187"/>
                <a:gd name="T52" fmla="*/ 40 w 223"/>
                <a:gd name="T53" fmla="*/ 8 h 1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23" h="187">
                  <a:moveTo>
                    <a:pt x="184" y="187"/>
                  </a:moveTo>
                  <a:cubicBezTo>
                    <a:pt x="183" y="187"/>
                    <a:pt x="182" y="187"/>
                    <a:pt x="181" y="186"/>
                  </a:cubicBezTo>
                  <a:cubicBezTo>
                    <a:pt x="146" y="151"/>
                    <a:pt x="146" y="151"/>
                    <a:pt x="146" y="151"/>
                  </a:cubicBezTo>
                  <a:cubicBezTo>
                    <a:pt x="40" y="151"/>
                    <a:pt x="40" y="151"/>
                    <a:pt x="40" y="151"/>
                  </a:cubicBezTo>
                  <a:cubicBezTo>
                    <a:pt x="18" y="151"/>
                    <a:pt x="0" y="133"/>
                    <a:pt x="0" y="111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0" y="18"/>
                    <a:pt x="18" y="0"/>
                    <a:pt x="40" y="0"/>
                  </a:cubicBezTo>
                  <a:cubicBezTo>
                    <a:pt x="183" y="0"/>
                    <a:pt x="183" y="0"/>
                    <a:pt x="183" y="0"/>
                  </a:cubicBezTo>
                  <a:cubicBezTo>
                    <a:pt x="205" y="0"/>
                    <a:pt x="223" y="18"/>
                    <a:pt x="223" y="40"/>
                  </a:cubicBezTo>
                  <a:cubicBezTo>
                    <a:pt x="223" y="111"/>
                    <a:pt x="223" y="111"/>
                    <a:pt x="223" y="111"/>
                  </a:cubicBezTo>
                  <a:cubicBezTo>
                    <a:pt x="223" y="132"/>
                    <a:pt x="208" y="148"/>
                    <a:pt x="188" y="150"/>
                  </a:cubicBezTo>
                  <a:cubicBezTo>
                    <a:pt x="188" y="183"/>
                    <a:pt x="188" y="183"/>
                    <a:pt x="188" y="183"/>
                  </a:cubicBezTo>
                  <a:cubicBezTo>
                    <a:pt x="188" y="185"/>
                    <a:pt x="187" y="186"/>
                    <a:pt x="185" y="187"/>
                  </a:cubicBezTo>
                  <a:cubicBezTo>
                    <a:pt x="185" y="187"/>
                    <a:pt x="184" y="187"/>
                    <a:pt x="184" y="187"/>
                  </a:cubicBezTo>
                  <a:moveTo>
                    <a:pt x="40" y="8"/>
                  </a:moveTo>
                  <a:cubicBezTo>
                    <a:pt x="22" y="8"/>
                    <a:pt x="8" y="23"/>
                    <a:pt x="8" y="40"/>
                  </a:cubicBezTo>
                  <a:cubicBezTo>
                    <a:pt x="8" y="111"/>
                    <a:pt x="8" y="111"/>
                    <a:pt x="8" y="111"/>
                  </a:cubicBezTo>
                  <a:cubicBezTo>
                    <a:pt x="8" y="128"/>
                    <a:pt x="22" y="143"/>
                    <a:pt x="40" y="143"/>
                  </a:cubicBezTo>
                  <a:cubicBezTo>
                    <a:pt x="148" y="143"/>
                    <a:pt x="148" y="143"/>
                    <a:pt x="148" y="143"/>
                  </a:cubicBezTo>
                  <a:cubicBezTo>
                    <a:pt x="149" y="143"/>
                    <a:pt x="150" y="143"/>
                    <a:pt x="151" y="144"/>
                  </a:cubicBezTo>
                  <a:cubicBezTo>
                    <a:pt x="180" y="173"/>
                    <a:pt x="180" y="173"/>
                    <a:pt x="180" y="173"/>
                  </a:cubicBezTo>
                  <a:cubicBezTo>
                    <a:pt x="180" y="147"/>
                    <a:pt x="180" y="147"/>
                    <a:pt x="180" y="147"/>
                  </a:cubicBezTo>
                  <a:cubicBezTo>
                    <a:pt x="180" y="144"/>
                    <a:pt x="182" y="143"/>
                    <a:pt x="184" y="143"/>
                  </a:cubicBezTo>
                  <a:cubicBezTo>
                    <a:pt x="201" y="143"/>
                    <a:pt x="215" y="129"/>
                    <a:pt x="215" y="111"/>
                  </a:cubicBezTo>
                  <a:cubicBezTo>
                    <a:pt x="215" y="40"/>
                    <a:pt x="215" y="40"/>
                    <a:pt x="215" y="40"/>
                  </a:cubicBezTo>
                  <a:cubicBezTo>
                    <a:pt x="215" y="23"/>
                    <a:pt x="200" y="8"/>
                    <a:pt x="183" y="8"/>
                  </a:cubicBezTo>
                  <a:lnTo>
                    <a:pt x="40" y="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827920"/>
              <a:endParaRPr lang="en-US" sz="3734" dirty="0">
                <a:solidFill>
                  <a:srgbClr val="FFFFFF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42523177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nnouncement, &quot;special&quot; slid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Tile"/>
          <p:cNvSpPr/>
          <p:nvPr userDrawn="1"/>
        </p:nvSpPr>
        <p:spPr bwMode="auto">
          <a:xfrm>
            <a:off x="8022143" y="6374275"/>
            <a:ext cx="14329334" cy="5646278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182792" tIns="91398" rIns="182792" bIns="91398" numCol="1" rtlCol="0" anchor="ctr" anchorCtr="0" compatLnSpc="1">
            <a:prstTxWarp prst="textNoShape">
              <a:avLst/>
            </a:prstTxWarp>
          </a:bodyPr>
          <a:lstStyle/>
          <a:p>
            <a:pPr algn="ctr" defTabSz="1827392"/>
            <a:endParaRPr lang="en-US" sz="4534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Arrow Bar"/>
          <p:cNvSpPr/>
          <p:nvPr userDrawn="1"/>
        </p:nvSpPr>
        <p:spPr bwMode="auto">
          <a:xfrm>
            <a:off x="8022143" y="3028950"/>
            <a:ext cx="14329334" cy="2999232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182792" tIns="91398" rIns="182792" bIns="91398" numCol="1" rtlCol="0" anchor="ctr" anchorCtr="0" compatLnSpc="1">
            <a:prstTxWarp prst="textNoShape">
              <a:avLst/>
            </a:prstTxWarp>
          </a:bodyPr>
          <a:lstStyle/>
          <a:p>
            <a:pPr algn="ctr" defTabSz="1827392"/>
            <a:endParaRPr lang="en-US" sz="4534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8360281" y="3173174"/>
            <a:ext cx="11102374" cy="2757288"/>
          </a:xfrm>
        </p:spPr>
        <p:txBody>
          <a:bodyPr anchor="ctr" anchorCtr="0">
            <a:noAutofit/>
            <a:scene3d>
              <a:camera prst="orthographicFront"/>
              <a:lightRig rig="flat" dir="t"/>
            </a:scene3d>
            <a:sp3d>
              <a:contourClr>
                <a:schemeClr val="tx2"/>
              </a:contourClr>
            </a:sp3d>
          </a:bodyPr>
          <a:lstStyle>
            <a:lvl1pPr marL="0" indent="0" algn="l" defTabSz="1827920" rtl="0" eaLnBrk="1" latinLnBrk="0" hangingPunct="1">
              <a:lnSpc>
                <a:spcPct val="90000"/>
              </a:lnSpc>
              <a:spcBef>
                <a:spcPct val="0"/>
              </a:spcBef>
              <a:buFont typeface="Arial" pitchFamily="34" charset="0"/>
              <a:buNone/>
              <a:defRPr lang="en-US" sz="10934" b="1" kern="1200" cap="none" spc="-200" baseline="0" dirty="0" smtClean="0">
                <a:ln w="3175">
                  <a:noFill/>
                </a:ln>
                <a:solidFill>
                  <a:schemeClr val="tx1">
                    <a:alpha val="99000"/>
                  </a:schemeClr>
                </a:soli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Announcement</a:t>
            </a:r>
          </a:p>
        </p:txBody>
      </p:sp>
      <p:sp useBgFill="1">
        <p:nvSpPr>
          <p:cNvPr id="9" name="Left Mask"/>
          <p:cNvSpPr/>
          <p:nvPr userDrawn="1"/>
        </p:nvSpPr>
        <p:spPr bwMode="auto">
          <a:xfrm>
            <a:off x="-1" y="3028952"/>
            <a:ext cx="8022142" cy="2999232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792" tIns="91398" rIns="182792" bIns="9139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827392"/>
            <a:endParaRPr lang="en-US" sz="4534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360290" y="10363233"/>
            <a:ext cx="13224536" cy="923330"/>
          </a:xfrm>
        </p:spPr>
        <p:txBody>
          <a:bodyPr>
            <a:noAutofit/>
          </a:bodyPr>
          <a:lstStyle>
            <a:lvl1pPr marL="0" indent="0" algn="l" defTabSz="1827920" rtl="0" eaLnBrk="1" latinLnBrk="0" hangingPunct="1">
              <a:lnSpc>
                <a:spcPct val="90000"/>
              </a:lnSpc>
              <a:spcBef>
                <a:spcPts val="0"/>
              </a:spcBef>
              <a:buSzPct val="105000"/>
              <a:buFontTx/>
              <a:buNone/>
              <a:defRPr lang="en-US" sz="3200" kern="1200" dirty="0">
                <a:solidFill>
                  <a:schemeClr val="bg1">
                    <a:alpha val="99000"/>
                  </a:schemeClr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9139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8279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7418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36558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45697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5483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63977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73116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Circle Arrow"/>
          <p:cNvSpPr>
            <a:spLocks noEditPoints="1"/>
          </p:cNvSpPr>
          <p:nvPr userDrawn="1"/>
        </p:nvSpPr>
        <p:spPr bwMode="auto">
          <a:xfrm rot="5400000">
            <a:off x="19901879" y="3745895"/>
            <a:ext cx="1682750" cy="1683190"/>
          </a:xfrm>
          <a:custGeom>
            <a:avLst/>
            <a:gdLst>
              <a:gd name="T0" fmla="*/ 112 w 224"/>
              <a:gd name="T1" fmla="*/ 0 h 224"/>
              <a:gd name="T2" fmla="*/ 0 w 224"/>
              <a:gd name="T3" fmla="*/ 112 h 224"/>
              <a:gd name="T4" fmla="*/ 112 w 224"/>
              <a:gd name="T5" fmla="*/ 224 h 224"/>
              <a:gd name="T6" fmla="*/ 224 w 224"/>
              <a:gd name="T7" fmla="*/ 112 h 224"/>
              <a:gd name="T8" fmla="*/ 112 w 224"/>
              <a:gd name="T9" fmla="*/ 0 h 224"/>
              <a:gd name="T10" fmla="*/ 112 w 224"/>
              <a:gd name="T11" fmla="*/ 216 h 224"/>
              <a:gd name="T12" fmla="*/ 8 w 224"/>
              <a:gd name="T13" fmla="*/ 112 h 224"/>
              <a:gd name="T14" fmla="*/ 112 w 224"/>
              <a:gd name="T15" fmla="*/ 8 h 224"/>
              <a:gd name="T16" fmla="*/ 216 w 224"/>
              <a:gd name="T17" fmla="*/ 112 h 224"/>
              <a:gd name="T18" fmla="*/ 112 w 224"/>
              <a:gd name="T19" fmla="*/ 216 h 224"/>
              <a:gd name="T20" fmla="*/ 161 w 224"/>
              <a:gd name="T21" fmla="*/ 94 h 224"/>
              <a:gd name="T22" fmla="*/ 169 w 224"/>
              <a:gd name="T23" fmla="*/ 94 h 224"/>
              <a:gd name="T24" fmla="*/ 169 w 224"/>
              <a:gd name="T25" fmla="*/ 166 h 224"/>
              <a:gd name="T26" fmla="*/ 165 w 224"/>
              <a:gd name="T27" fmla="*/ 170 h 224"/>
              <a:gd name="T28" fmla="*/ 93 w 224"/>
              <a:gd name="T29" fmla="*/ 170 h 224"/>
              <a:gd name="T30" fmla="*/ 93 w 224"/>
              <a:gd name="T31" fmla="*/ 162 h 224"/>
              <a:gd name="T32" fmla="*/ 156 w 224"/>
              <a:gd name="T33" fmla="*/ 162 h 224"/>
              <a:gd name="T34" fmla="*/ 58 w 224"/>
              <a:gd name="T35" fmla="*/ 65 h 224"/>
              <a:gd name="T36" fmla="*/ 64 w 224"/>
              <a:gd name="T37" fmla="*/ 59 h 224"/>
              <a:gd name="T38" fmla="*/ 161 w 224"/>
              <a:gd name="T39" fmla="*/ 156 h 224"/>
              <a:gd name="T40" fmla="*/ 161 w 224"/>
              <a:gd name="T41" fmla="*/ 94 h 2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224" h="224">
                <a:moveTo>
                  <a:pt x="112" y="0"/>
                </a:moveTo>
                <a:cubicBezTo>
                  <a:pt x="50" y="0"/>
                  <a:pt x="0" y="50"/>
                  <a:pt x="0" y="112"/>
                </a:cubicBezTo>
                <a:cubicBezTo>
                  <a:pt x="0" y="174"/>
                  <a:pt x="50" y="224"/>
                  <a:pt x="112" y="224"/>
                </a:cubicBezTo>
                <a:cubicBezTo>
                  <a:pt x="173" y="224"/>
                  <a:pt x="224" y="174"/>
                  <a:pt x="224" y="112"/>
                </a:cubicBezTo>
                <a:cubicBezTo>
                  <a:pt x="224" y="50"/>
                  <a:pt x="173" y="0"/>
                  <a:pt x="112" y="0"/>
                </a:cubicBezTo>
                <a:close/>
                <a:moveTo>
                  <a:pt x="112" y="216"/>
                </a:moveTo>
                <a:cubicBezTo>
                  <a:pt x="54" y="216"/>
                  <a:pt x="8" y="169"/>
                  <a:pt x="8" y="112"/>
                </a:cubicBezTo>
                <a:cubicBezTo>
                  <a:pt x="8" y="54"/>
                  <a:pt x="54" y="8"/>
                  <a:pt x="112" y="8"/>
                </a:cubicBezTo>
                <a:cubicBezTo>
                  <a:pt x="169" y="8"/>
                  <a:pt x="216" y="54"/>
                  <a:pt x="216" y="112"/>
                </a:cubicBezTo>
                <a:cubicBezTo>
                  <a:pt x="216" y="169"/>
                  <a:pt x="169" y="216"/>
                  <a:pt x="112" y="216"/>
                </a:cubicBezTo>
                <a:close/>
                <a:moveTo>
                  <a:pt x="161" y="94"/>
                </a:moveTo>
                <a:cubicBezTo>
                  <a:pt x="169" y="94"/>
                  <a:pt x="169" y="94"/>
                  <a:pt x="169" y="94"/>
                </a:cubicBezTo>
                <a:cubicBezTo>
                  <a:pt x="169" y="166"/>
                  <a:pt x="169" y="166"/>
                  <a:pt x="169" y="166"/>
                </a:cubicBezTo>
                <a:cubicBezTo>
                  <a:pt x="169" y="168"/>
                  <a:pt x="168" y="170"/>
                  <a:pt x="165" y="170"/>
                </a:cubicBezTo>
                <a:cubicBezTo>
                  <a:pt x="93" y="170"/>
                  <a:pt x="93" y="170"/>
                  <a:pt x="93" y="170"/>
                </a:cubicBezTo>
                <a:cubicBezTo>
                  <a:pt x="93" y="162"/>
                  <a:pt x="93" y="162"/>
                  <a:pt x="93" y="162"/>
                </a:cubicBezTo>
                <a:cubicBezTo>
                  <a:pt x="156" y="162"/>
                  <a:pt x="156" y="162"/>
                  <a:pt x="156" y="162"/>
                </a:cubicBezTo>
                <a:cubicBezTo>
                  <a:pt x="58" y="65"/>
                  <a:pt x="58" y="65"/>
                  <a:pt x="58" y="65"/>
                </a:cubicBezTo>
                <a:cubicBezTo>
                  <a:pt x="64" y="59"/>
                  <a:pt x="64" y="59"/>
                  <a:pt x="64" y="59"/>
                </a:cubicBezTo>
                <a:cubicBezTo>
                  <a:pt x="161" y="156"/>
                  <a:pt x="161" y="156"/>
                  <a:pt x="161" y="156"/>
                </a:cubicBezTo>
                <a:lnTo>
                  <a:pt x="161" y="94"/>
                </a:lnTo>
                <a:close/>
              </a:path>
            </a:pathLst>
          </a:cu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txBody>
          <a:bodyPr vert="horz" wrap="square" lIns="182800" tIns="91402" rIns="182800" bIns="91402" numCol="1" anchor="t" anchorCtr="0" compatLnSpc="1">
            <a:prstTxWarp prst="textNoShape">
              <a:avLst/>
            </a:prstTxWarp>
          </a:bodyPr>
          <a:lstStyle/>
          <a:p>
            <a:pPr defTabSz="1827920"/>
            <a:endParaRPr lang="en-US" sz="3734" dirty="0">
              <a:solidFill>
                <a:srgbClr val="FFFFFF"/>
              </a:solidFill>
            </a:endParaRPr>
          </a:p>
        </p:txBody>
      </p:sp>
      <p:sp>
        <p:nvSpPr>
          <p:cNvPr id="11" name="TechEd Tile"/>
          <p:cNvSpPr/>
          <p:nvPr userDrawn="1"/>
        </p:nvSpPr>
        <p:spPr bwMode="auto">
          <a:xfrm>
            <a:off x="2044678" y="3028950"/>
            <a:ext cx="5652464" cy="2999232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182792" tIns="91398" rIns="182792" bIns="91398" numCol="1" rtlCol="0" anchor="ctr" anchorCtr="0" compatLnSpc="1">
            <a:prstTxWarp prst="textNoShape">
              <a:avLst/>
            </a:prstTxWarp>
          </a:bodyPr>
          <a:lstStyle/>
          <a:p>
            <a:pPr algn="ctr" defTabSz="1827392"/>
            <a:endParaRPr lang="en-US" sz="4534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2" name="TechEd Logo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530"/>
          <a:stretch/>
        </p:blipFill>
        <p:spPr bwMode="auto">
          <a:xfrm>
            <a:off x="2803366" y="3484990"/>
            <a:ext cx="4135088" cy="20871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 useBgFill="1">
        <p:nvSpPr>
          <p:cNvPr id="13" name="Top Mask"/>
          <p:cNvSpPr/>
          <p:nvPr userDrawn="1"/>
        </p:nvSpPr>
        <p:spPr bwMode="auto">
          <a:xfrm>
            <a:off x="2" y="3"/>
            <a:ext cx="24384000" cy="3028950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792" tIns="91398" rIns="182792" bIns="9139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827392"/>
            <a:endParaRPr lang="en-US" sz="4534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ea typeface="Segoe UI" pitchFamily="34" charset="0"/>
              <a:cs typeface="Segoe UI" pitchFamily="34" charset="0"/>
            </a:endParaRPr>
          </a:p>
        </p:txBody>
      </p:sp>
      <p:sp useBgFill="1">
        <p:nvSpPr>
          <p:cNvPr id="14" name="Right Mask"/>
          <p:cNvSpPr/>
          <p:nvPr userDrawn="1"/>
        </p:nvSpPr>
        <p:spPr bwMode="auto">
          <a:xfrm>
            <a:off x="22351501" y="3261639"/>
            <a:ext cx="2032530" cy="8309966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792" tIns="91398" rIns="182792" bIns="9139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827392"/>
            <a:endParaRPr lang="en-US" sz="4534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360284" y="6374301"/>
            <a:ext cx="13224536" cy="3046990"/>
          </a:xfrm>
        </p:spPr>
        <p:txBody>
          <a:bodyPr anchor="ctr" anchorCtr="0">
            <a:noAutofit/>
          </a:bodyPr>
          <a:lstStyle>
            <a:lvl1pPr algn="l" defTabSz="182792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8000" b="1" kern="1200" cap="none" spc="-200" baseline="0" dirty="0">
                <a:ln w="3175">
                  <a:noFill/>
                </a:ln>
                <a:solidFill>
                  <a:schemeClr val="accent3">
                    <a:alpha val="99000"/>
                  </a:schemeClr>
                </a:soli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 useBgFill="1">
        <p:nvSpPr>
          <p:cNvPr id="15" name="Bottom Mask"/>
          <p:cNvSpPr/>
          <p:nvPr userDrawn="1"/>
        </p:nvSpPr>
        <p:spPr bwMode="auto">
          <a:xfrm>
            <a:off x="8022173" y="12020553"/>
            <a:ext cx="16361858" cy="1695450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792" tIns="91398" rIns="182792" bIns="9139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827392"/>
            <a:endParaRPr lang="en-US" sz="4534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17" name="Orange Tile"/>
          <p:cNvGrpSpPr/>
          <p:nvPr userDrawn="1"/>
        </p:nvGrpSpPr>
        <p:grpSpPr>
          <a:xfrm>
            <a:off x="2032246" y="6374966"/>
            <a:ext cx="5655976" cy="5654504"/>
            <a:chOff x="1351800" y="-1084759"/>
            <a:chExt cx="2827252" cy="2827252"/>
          </a:xfrm>
        </p:grpSpPr>
        <p:sp>
          <p:nvSpPr>
            <p:cNvPr id="18" name="Rectangle 17"/>
            <p:cNvSpPr/>
            <p:nvPr/>
          </p:nvSpPr>
          <p:spPr bwMode="auto">
            <a:xfrm>
              <a:off x="1351800" y="-1084759"/>
              <a:ext cx="2827252" cy="2827252"/>
            </a:xfrm>
            <a:prstGeom prst="rect">
              <a:avLst/>
            </a:prstGeom>
            <a:solidFill>
              <a:schemeClr val="accent3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vert="horz" wrap="square" lIns="91436" tIns="45718" rIns="91436" bIns="45718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1827392"/>
              <a:endParaRPr lang="en-US" sz="4534" dirty="0">
                <a:solidFill>
                  <a:srgbClr val="FFFFFF">
                    <a:lumMod val="20000"/>
                    <a:lumOff val="80000"/>
                    <a:alpha val="99000"/>
                  </a:srgbClr>
                </a:soli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2" name="Freeform 21"/>
            <p:cNvSpPr>
              <a:spLocks noEditPoints="1"/>
            </p:cNvSpPr>
            <p:nvPr/>
          </p:nvSpPr>
          <p:spPr bwMode="auto">
            <a:xfrm>
              <a:off x="2005011" y="-436308"/>
              <a:ext cx="1522413" cy="1530350"/>
            </a:xfrm>
            <a:custGeom>
              <a:avLst/>
              <a:gdLst>
                <a:gd name="T0" fmla="*/ 6 w 187"/>
                <a:gd name="T1" fmla="*/ 188 h 188"/>
                <a:gd name="T2" fmla="*/ 129 w 187"/>
                <a:gd name="T3" fmla="*/ 64 h 188"/>
                <a:gd name="T4" fmla="*/ 180 w 187"/>
                <a:gd name="T5" fmla="*/ 115 h 188"/>
                <a:gd name="T6" fmla="*/ 185 w 187"/>
                <a:gd name="T7" fmla="*/ 116 h 188"/>
                <a:gd name="T8" fmla="*/ 187 w 187"/>
                <a:gd name="T9" fmla="*/ 112 h 188"/>
                <a:gd name="T10" fmla="*/ 187 w 187"/>
                <a:gd name="T11" fmla="*/ 4 h 188"/>
                <a:gd name="T12" fmla="*/ 183 w 187"/>
                <a:gd name="T13" fmla="*/ 0 h 188"/>
                <a:gd name="T14" fmla="*/ 75 w 187"/>
                <a:gd name="T15" fmla="*/ 0 h 188"/>
                <a:gd name="T16" fmla="*/ 71 w 187"/>
                <a:gd name="T17" fmla="*/ 3 h 188"/>
                <a:gd name="T18" fmla="*/ 71 w 187"/>
                <a:gd name="T19" fmla="*/ 4 h 188"/>
                <a:gd name="T20" fmla="*/ 72 w 187"/>
                <a:gd name="T21" fmla="*/ 7 h 188"/>
                <a:gd name="T22" fmla="*/ 123 w 187"/>
                <a:gd name="T23" fmla="*/ 58 h 188"/>
                <a:gd name="T24" fmla="*/ 0 w 187"/>
                <a:gd name="T25" fmla="*/ 182 h 188"/>
                <a:gd name="T26" fmla="*/ 6 w 187"/>
                <a:gd name="T27" fmla="*/ 188 h 188"/>
                <a:gd name="T28" fmla="*/ 179 w 187"/>
                <a:gd name="T29" fmla="*/ 8 h 188"/>
                <a:gd name="T30" fmla="*/ 179 w 187"/>
                <a:gd name="T31" fmla="*/ 103 h 188"/>
                <a:gd name="T32" fmla="*/ 85 w 187"/>
                <a:gd name="T33" fmla="*/ 8 h 188"/>
                <a:gd name="T34" fmla="*/ 179 w 187"/>
                <a:gd name="T35" fmla="*/ 8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87" h="188">
                  <a:moveTo>
                    <a:pt x="6" y="188"/>
                  </a:moveTo>
                  <a:cubicBezTo>
                    <a:pt x="129" y="64"/>
                    <a:pt x="129" y="64"/>
                    <a:pt x="129" y="64"/>
                  </a:cubicBezTo>
                  <a:cubicBezTo>
                    <a:pt x="180" y="115"/>
                    <a:pt x="180" y="115"/>
                    <a:pt x="180" y="115"/>
                  </a:cubicBezTo>
                  <a:cubicBezTo>
                    <a:pt x="181" y="116"/>
                    <a:pt x="183" y="117"/>
                    <a:pt x="185" y="116"/>
                  </a:cubicBezTo>
                  <a:cubicBezTo>
                    <a:pt x="186" y="116"/>
                    <a:pt x="187" y="114"/>
                    <a:pt x="187" y="112"/>
                  </a:cubicBezTo>
                  <a:cubicBezTo>
                    <a:pt x="187" y="4"/>
                    <a:pt x="187" y="4"/>
                    <a:pt x="187" y="4"/>
                  </a:cubicBezTo>
                  <a:cubicBezTo>
                    <a:pt x="187" y="2"/>
                    <a:pt x="185" y="0"/>
                    <a:pt x="183" y="0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73" y="0"/>
                    <a:pt x="72" y="1"/>
                    <a:pt x="71" y="3"/>
                  </a:cubicBezTo>
                  <a:cubicBezTo>
                    <a:pt x="71" y="3"/>
                    <a:pt x="71" y="4"/>
                    <a:pt x="71" y="4"/>
                  </a:cubicBezTo>
                  <a:cubicBezTo>
                    <a:pt x="71" y="6"/>
                    <a:pt x="71" y="7"/>
                    <a:pt x="72" y="7"/>
                  </a:cubicBezTo>
                  <a:cubicBezTo>
                    <a:pt x="123" y="58"/>
                    <a:pt x="123" y="58"/>
                    <a:pt x="123" y="58"/>
                  </a:cubicBezTo>
                  <a:cubicBezTo>
                    <a:pt x="0" y="182"/>
                    <a:pt x="0" y="182"/>
                    <a:pt x="0" y="182"/>
                  </a:cubicBezTo>
                  <a:lnTo>
                    <a:pt x="6" y="188"/>
                  </a:lnTo>
                  <a:close/>
                  <a:moveTo>
                    <a:pt x="179" y="8"/>
                  </a:moveTo>
                  <a:cubicBezTo>
                    <a:pt x="179" y="103"/>
                    <a:pt x="179" y="103"/>
                    <a:pt x="179" y="103"/>
                  </a:cubicBezTo>
                  <a:cubicBezTo>
                    <a:pt x="85" y="8"/>
                    <a:pt x="85" y="8"/>
                    <a:pt x="85" y="8"/>
                  </a:cubicBezTo>
                  <a:lnTo>
                    <a:pt x="179" y="8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827920"/>
              <a:endParaRPr lang="en-US" sz="3734" dirty="0">
                <a:solidFill>
                  <a:srgbClr val="FFFFFF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96944904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Photo -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hape 8"/>
          <p:cNvSpPr>
            <a:spLocks noGrp="1"/>
          </p:cNvSpPr>
          <p:nvPr>
            <p:ph type="title"/>
          </p:nvPr>
        </p:nvSpPr>
        <p:spPr>
          <a:xfrm>
            <a:off x="635000" y="9448800"/>
            <a:ext cx="23114000" cy="2006600"/>
          </a:xfrm>
          <a:prstGeom prst="rect">
            <a:avLst/>
          </a:prstGeom>
        </p:spPr>
        <p:txBody>
          <a:bodyPr anchor="b"/>
          <a:lstStyle/>
          <a:p>
            <a:pPr lvl="0">
              <a:defRPr sz="1800"/>
            </a:pPr>
            <a:r>
              <a:rPr sz="11200"/>
              <a:t>Title Text</a:t>
            </a:r>
          </a:p>
        </p:txBody>
      </p:sp>
      <p:sp>
        <p:nvSpPr>
          <p:cNvPr id="9" name="Shape 9"/>
          <p:cNvSpPr>
            <a:spLocks noGrp="1"/>
          </p:cNvSpPr>
          <p:nvPr>
            <p:ph type="body" idx="1"/>
          </p:nvPr>
        </p:nvSpPr>
        <p:spPr>
          <a:xfrm>
            <a:off x="635000" y="11518900"/>
            <a:ext cx="23114000" cy="1587500"/>
          </a:xfrm>
          <a:prstGeom prst="rect">
            <a:avLst/>
          </a:prstGeom>
        </p:spPr>
        <p:txBody>
          <a:bodyPr anchor="t"/>
          <a:lstStyle>
            <a:lvl1pPr marL="0" indent="0" algn="ctr">
              <a:spcBef>
                <a:spcPts val="0"/>
              </a:spcBef>
              <a:buSzTx/>
              <a:buNone/>
              <a:defRPr sz="4400"/>
            </a:lvl1pPr>
            <a:lvl2pPr marL="0" indent="228600" algn="ctr">
              <a:spcBef>
                <a:spcPts val="0"/>
              </a:spcBef>
              <a:buSzTx/>
              <a:buNone/>
              <a:defRPr sz="4400"/>
            </a:lvl2pPr>
            <a:lvl3pPr marL="0" indent="457200" algn="ctr">
              <a:spcBef>
                <a:spcPts val="0"/>
              </a:spcBef>
              <a:buSzTx/>
              <a:buNone/>
              <a:defRPr sz="4400"/>
            </a:lvl3pPr>
            <a:lvl4pPr marL="0" indent="685800" algn="ctr">
              <a:spcBef>
                <a:spcPts val="0"/>
              </a:spcBef>
              <a:buSzTx/>
              <a:buNone/>
              <a:defRPr sz="4400"/>
            </a:lvl4pPr>
            <a:lvl5pPr marL="0" indent="914400" algn="ctr">
              <a:spcBef>
                <a:spcPts val="0"/>
              </a:spcBef>
              <a:buSzTx/>
              <a:buNone/>
              <a:defRPr sz="4400"/>
            </a:lvl5pPr>
          </a:lstStyle>
          <a:p>
            <a:pPr lvl="0">
              <a:defRPr sz="1800"/>
            </a:pPr>
            <a:r>
              <a:rPr sz="4400"/>
              <a:t>Body Level One</a:t>
            </a:r>
          </a:p>
          <a:p>
            <a:pPr lvl="1">
              <a:defRPr sz="1800"/>
            </a:pPr>
            <a:r>
              <a:rPr sz="4400"/>
              <a:t>Body Level Two</a:t>
            </a:r>
          </a:p>
          <a:p>
            <a:pPr lvl="2">
              <a:defRPr sz="1800"/>
            </a:pPr>
            <a:r>
              <a:rPr sz="4400"/>
              <a:t>Body Level Three</a:t>
            </a:r>
          </a:p>
          <a:p>
            <a:pPr lvl="3">
              <a:defRPr sz="1800"/>
            </a:pPr>
            <a:r>
              <a:rPr sz="4400"/>
              <a:t>Body Level Four</a:t>
            </a:r>
          </a:p>
          <a:p>
            <a:pPr lvl="4">
              <a:defRPr sz="1800"/>
            </a:pPr>
            <a:r>
              <a:rPr sz="4400"/>
              <a:t>Body Level Five</a:t>
            </a:r>
          </a:p>
        </p:txBody>
      </p:sp>
    </p:spTree>
  </p:cSld>
  <p:clrMapOvr>
    <a:masterClrMapping/>
  </p:clrMapOvr>
  <p:transition spd="med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tc., &quot;special&quot; slid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Tile"/>
          <p:cNvSpPr/>
          <p:nvPr userDrawn="1"/>
        </p:nvSpPr>
        <p:spPr bwMode="auto">
          <a:xfrm>
            <a:off x="8022143" y="6374275"/>
            <a:ext cx="14329334" cy="5646278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182792" tIns="91398" rIns="182792" bIns="91398" numCol="1" rtlCol="0" anchor="ctr" anchorCtr="0" compatLnSpc="1">
            <a:prstTxWarp prst="textNoShape">
              <a:avLst/>
            </a:prstTxWarp>
          </a:bodyPr>
          <a:lstStyle/>
          <a:p>
            <a:pPr algn="ctr" defTabSz="1827392"/>
            <a:endParaRPr lang="en-US" sz="4534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Arrow Bar"/>
          <p:cNvSpPr/>
          <p:nvPr userDrawn="1"/>
        </p:nvSpPr>
        <p:spPr bwMode="auto">
          <a:xfrm>
            <a:off x="8022143" y="3028950"/>
            <a:ext cx="14329334" cy="2999232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182792" tIns="91398" rIns="182792" bIns="91398" numCol="1" rtlCol="0" anchor="ctr" anchorCtr="0" compatLnSpc="1">
            <a:prstTxWarp prst="textNoShape">
              <a:avLst/>
            </a:prstTxWarp>
          </a:bodyPr>
          <a:lstStyle/>
          <a:p>
            <a:pPr algn="ctr" defTabSz="1827392"/>
            <a:endParaRPr lang="en-US" sz="4534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8360281" y="3173174"/>
            <a:ext cx="11102374" cy="2757288"/>
          </a:xfrm>
        </p:spPr>
        <p:txBody>
          <a:bodyPr anchor="ctr" anchorCtr="0">
            <a:noAutofit/>
            <a:scene3d>
              <a:camera prst="orthographicFront"/>
              <a:lightRig rig="flat" dir="t"/>
            </a:scene3d>
            <a:sp3d>
              <a:contourClr>
                <a:schemeClr val="tx2"/>
              </a:contourClr>
            </a:sp3d>
          </a:bodyPr>
          <a:lstStyle>
            <a:lvl1pPr marL="0" indent="0" algn="l" defTabSz="1827920" rtl="0" eaLnBrk="1" latinLnBrk="0" hangingPunct="1">
              <a:lnSpc>
                <a:spcPct val="90000"/>
              </a:lnSpc>
              <a:spcBef>
                <a:spcPct val="0"/>
              </a:spcBef>
              <a:buFont typeface="Arial" pitchFamily="34" charset="0"/>
              <a:buNone/>
              <a:defRPr lang="en-US" sz="10934" b="1" kern="1200" cap="none" spc="-200" baseline="0" dirty="0" smtClean="0">
                <a:ln w="3175">
                  <a:noFill/>
                </a:ln>
                <a:solidFill>
                  <a:schemeClr val="tx1">
                    <a:alpha val="99000"/>
                  </a:schemeClr>
                </a:soli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  <p:sp useBgFill="1">
        <p:nvSpPr>
          <p:cNvPr id="9" name="Left Mask"/>
          <p:cNvSpPr/>
          <p:nvPr userDrawn="1"/>
        </p:nvSpPr>
        <p:spPr bwMode="auto">
          <a:xfrm>
            <a:off x="-1" y="3028952"/>
            <a:ext cx="8022142" cy="2999232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792" tIns="91398" rIns="182792" bIns="9139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827392"/>
            <a:endParaRPr lang="en-US" sz="4534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360290" y="10363233"/>
            <a:ext cx="13224536" cy="923330"/>
          </a:xfrm>
        </p:spPr>
        <p:txBody>
          <a:bodyPr>
            <a:noAutofit/>
          </a:bodyPr>
          <a:lstStyle>
            <a:lvl1pPr marL="0" indent="0" algn="l" defTabSz="1827920" rtl="0" eaLnBrk="1" latinLnBrk="0" hangingPunct="1">
              <a:lnSpc>
                <a:spcPct val="90000"/>
              </a:lnSpc>
              <a:spcBef>
                <a:spcPts val="0"/>
              </a:spcBef>
              <a:buSzPct val="105000"/>
              <a:buFontTx/>
              <a:buNone/>
              <a:defRPr lang="en-US" sz="3200" kern="1200" dirty="0">
                <a:solidFill>
                  <a:schemeClr val="bg1">
                    <a:alpha val="99000"/>
                  </a:schemeClr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9139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8279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7418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36558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45697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5483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63977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73116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Circle Arrow"/>
          <p:cNvSpPr>
            <a:spLocks noEditPoints="1"/>
          </p:cNvSpPr>
          <p:nvPr userDrawn="1"/>
        </p:nvSpPr>
        <p:spPr bwMode="auto">
          <a:xfrm rot="5400000">
            <a:off x="19901879" y="3745895"/>
            <a:ext cx="1682750" cy="1683190"/>
          </a:xfrm>
          <a:custGeom>
            <a:avLst/>
            <a:gdLst>
              <a:gd name="T0" fmla="*/ 112 w 224"/>
              <a:gd name="T1" fmla="*/ 0 h 224"/>
              <a:gd name="T2" fmla="*/ 0 w 224"/>
              <a:gd name="T3" fmla="*/ 112 h 224"/>
              <a:gd name="T4" fmla="*/ 112 w 224"/>
              <a:gd name="T5" fmla="*/ 224 h 224"/>
              <a:gd name="T6" fmla="*/ 224 w 224"/>
              <a:gd name="T7" fmla="*/ 112 h 224"/>
              <a:gd name="T8" fmla="*/ 112 w 224"/>
              <a:gd name="T9" fmla="*/ 0 h 224"/>
              <a:gd name="T10" fmla="*/ 112 w 224"/>
              <a:gd name="T11" fmla="*/ 216 h 224"/>
              <a:gd name="T12" fmla="*/ 8 w 224"/>
              <a:gd name="T13" fmla="*/ 112 h 224"/>
              <a:gd name="T14" fmla="*/ 112 w 224"/>
              <a:gd name="T15" fmla="*/ 8 h 224"/>
              <a:gd name="T16" fmla="*/ 216 w 224"/>
              <a:gd name="T17" fmla="*/ 112 h 224"/>
              <a:gd name="T18" fmla="*/ 112 w 224"/>
              <a:gd name="T19" fmla="*/ 216 h 224"/>
              <a:gd name="T20" fmla="*/ 161 w 224"/>
              <a:gd name="T21" fmla="*/ 94 h 224"/>
              <a:gd name="T22" fmla="*/ 169 w 224"/>
              <a:gd name="T23" fmla="*/ 94 h 224"/>
              <a:gd name="T24" fmla="*/ 169 w 224"/>
              <a:gd name="T25" fmla="*/ 166 h 224"/>
              <a:gd name="T26" fmla="*/ 165 w 224"/>
              <a:gd name="T27" fmla="*/ 170 h 224"/>
              <a:gd name="T28" fmla="*/ 93 w 224"/>
              <a:gd name="T29" fmla="*/ 170 h 224"/>
              <a:gd name="T30" fmla="*/ 93 w 224"/>
              <a:gd name="T31" fmla="*/ 162 h 224"/>
              <a:gd name="T32" fmla="*/ 156 w 224"/>
              <a:gd name="T33" fmla="*/ 162 h 224"/>
              <a:gd name="T34" fmla="*/ 58 w 224"/>
              <a:gd name="T35" fmla="*/ 65 h 224"/>
              <a:gd name="T36" fmla="*/ 64 w 224"/>
              <a:gd name="T37" fmla="*/ 59 h 224"/>
              <a:gd name="T38" fmla="*/ 161 w 224"/>
              <a:gd name="T39" fmla="*/ 156 h 224"/>
              <a:gd name="T40" fmla="*/ 161 w 224"/>
              <a:gd name="T41" fmla="*/ 94 h 2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224" h="224">
                <a:moveTo>
                  <a:pt x="112" y="0"/>
                </a:moveTo>
                <a:cubicBezTo>
                  <a:pt x="50" y="0"/>
                  <a:pt x="0" y="50"/>
                  <a:pt x="0" y="112"/>
                </a:cubicBezTo>
                <a:cubicBezTo>
                  <a:pt x="0" y="174"/>
                  <a:pt x="50" y="224"/>
                  <a:pt x="112" y="224"/>
                </a:cubicBezTo>
                <a:cubicBezTo>
                  <a:pt x="173" y="224"/>
                  <a:pt x="224" y="174"/>
                  <a:pt x="224" y="112"/>
                </a:cubicBezTo>
                <a:cubicBezTo>
                  <a:pt x="224" y="50"/>
                  <a:pt x="173" y="0"/>
                  <a:pt x="112" y="0"/>
                </a:cubicBezTo>
                <a:close/>
                <a:moveTo>
                  <a:pt x="112" y="216"/>
                </a:moveTo>
                <a:cubicBezTo>
                  <a:pt x="54" y="216"/>
                  <a:pt x="8" y="169"/>
                  <a:pt x="8" y="112"/>
                </a:cubicBezTo>
                <a:cubicBezTo>
                  <a:pt x="8" y="54"/>
                  <a:pt x="54" y="8"/>
                  <a:pt x="112" y="8"/>
                </a:cubicBezTo>
                <a:cubicBezTo>
                  <a:pt x="169" y="8"/>
                  <a:pt x="216" y="54"/>
                  <a:pt x="216" y="112"/>
                </a:cubicBezTo>
                <a:cubicBezTo>
                  <a:pt x="216" y="169"/>
                  <a:pt x="169" y="216"/>
                  <a:pt x="112" y="216"/>
                </a:cubicBezTo>
                <a:close/>
                <a:moveTo>
                  <a:pt x="161" y="94"/>
                </a:moveTo>
                <a:cubicBezTo>
                  <a:pt x="169" y="94"/>
                  <a:pt x="169" y="94"/>
                  <a:pt x="169" y="94"/>
                </a:cubicBezTo>
                <a:cubicBezTo>
                  <a:pt x="169" y="166"/>
                  <a:pt x="169" y="166"/>
                  <a:pt x="169" y="166"/>
                </a:cubicBezTo>
                <a:cubicBezTo>
                  <a:pt x="169" y="168"/>
                  <a:pt x="168" y="170"/>
                  <a:pt x="165" y="170"/>
                </a:cubicBezTo>
                <a:cubicBezTo>
                  <a:pt x="93" y="170"/>
                  <a:pt x="93" y="170"/>
                  <a:pt x="93" y="170"/>
                </a:cubicBezTo>
                <a:cubicBezTo>
                  <a:pt x="93" y="162"/>
                  <a:pt x="93" y="162"/>
                  <a:pt x="93" y="162"/>
                </a:cubicBezTo>
                <a:cubicBezTo>
                  <a:pt x="156" y="162"/>
                  <a:pt x="156" y="162"/>
                  <a:pt x="156" y="162"/>
                </a:cubicBezTo>
                <a:cubicBezTo>
                  <a:pt x="58" y="65"/>
                  <a:pt x="58" y="65"/>
                  <a:pt x="58" y="65"/>
                </a:cubicBezTo>
                <a:cubicBezTo>
                  <a:pt x="64" y="59"/>
                  <a:pt x="64" y="59"/>
                  <a:pt x="64" y="59"/>
                </a:cubicBezTo>
                <a:cubicBezTo>
                  <a:pt x="161" y="156"/>
                  <a:pt x="161" y="156"/>
                  <a:pt x="161" y="156"/>
                </a:cubicBezTo>
                <a:lnTo>
                  <a:pt x="161" y="94"/>
                </a:lnTo>
                <a:close/>
              </a:path>
            </a:pathLst>
          </a:cu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txBody>
          <a:bodyPr vert="horz" wrap="square" lIns="182800" tIns="91402" rIns="182800" bIns="91402" numCol="1" anchor="t" anchorCtr="0" compatLnSpc="1">
            <a:prstTxWarp prst="textNoShape">
              <a:avLst/>
            </a:prstTxWarp>
          </a:bodyPr>
          <a:lstStyle/>
          <a:p>
            <a:pPr defTabSz="1827920"/>
            <a:endParaRPr lang="en-US" sz="3734" dirty="0">
              <a:solidFill>
                <a:srgbClr val="FFFFFF"/>
              </a:solidFill>
            </a:endParaRPr>
          </a:p>
        </p:txBody>
      </p:sp>
      <p:sp>
        <p:nvSpPr>
          <p:cNvPr id="11" name="TechEd Tile"/>
          <p:cNvSpPr/>
          <p:nvPr userDrawn="1"/>
        </p:nvSpPr>
        <p:spPr bwMode="auto">
          <a:xfrm>
            <a:off x="2044678" y="3028950"/>
            <a:ext cx="5652464" cy="2999232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182792" tIns="91398" rIns="182792" bIns="91398" numCol="1" rtlCol="0" anchor="ctr" anchorCtr="0" compatLnSpc="1">
            <a:prstTxWarp prst="textNoShape">
              <a:avLst/>
            </a:prstTxWarp>
          </a:bodyPr>
          <a:lstStyle/>
          <a:p>
            <a:pPr algn="ctr" defTabSz="1827392"/>
            <a:endParaRPr lang="en-US" sz="4534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2" name="TechEd Logo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530"/>
          <a:stretch/>
        </p:blipFill>
        <p:spPr bwMode="auto">
          <a:xfrm>
            <a:off x="2803366" y="3484990"/>
            <a:ext cx="4135088" cy="20871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 useBgFill="1">
        <p:nvSpPr>
          <p:cNvPr id="13" name="Top Mask"/>
          <p:cNvSpPr/>
          <p:nvPr userDrawn="1"/>
        </p:nvSpPr>
        <p:spPr bwMode="auto">
          <a:xfrm>
            <a:off x="2" y="3"/>
            <a:ext cx="24384000" cy="3028950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792" tIns="91398" rIns="182792" bIns="9139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827392"/>
            <a:endParaRPr lang="en-US" sz="4534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ea typeface="Segoe UI" pitchFamily="34" charset="0"/>
              <a:cs typeface="Segoe UI" pitchFamily="34" charset="0"/>
            </a:endParaRPr>
          </a:p>
        </p:txBody>
      </p:sp>
      <p:sp useBgFill="1">
        <p:nvSpPr>
          <p:cNvPr id="14" name="Right Mask"/>
          <p:cNvSpPr/>
          <p:nvPr userDrawn="1"/>
        </p:nvSpPr>
        <p:spPr bwMode="auto">
          <a:xfrm>
            <a:off x="22351501" y="3261639"/>
            <a:ext cx="2032530" cy="8309966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792" tIns="91398" rIns="182792" bIns="9139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827392"/>
            <a:endParaRPr lang="en-US" sz="4534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360284" y="6374301"/>
            <a:ext cx="13224536" cy="3046990"/>
          </a:xfrm>
        </p:spPr>
        <p:txBody>
          <a:bodyPr anchor="ctr" anchorCtr="0">
            <a:noAutofit/>
          </a:bodyPr>
          <a:lstStyle>
            <a:lvl1pPr algn="l" defTabSz="182792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8000" b="1" kern="1200" cap="none" spc="-200" baseline="0" dirty="0">
                <a:ln w="3175">
                  <a:noFill/>
                </a:ln>
                <a:solidFill>
                  <a:schemeClr val="accent4">
                    <a:alpha val="99000"/>
                  </a:schemeClr>
                </a:soli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 useBgFill="1">
        <p:nvSpPr>
          <p:cNvPr id="15" name="Bottom Mask"/>
          <p:cNvSpPr/>
          <p:nvPr userDrawn="1"/>
        </p:nvSpPr>
        <p:spPr bwMode="auto">
          <a:xfrm>
            <a:off x="8022173" y="12020553"/>
            <a:ext cx="16361858" cy="1695450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792" tIns="91398" rIns="182792" bIns="9139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827392"/>
            <a:endParaRPr lang="en-US" sz="4534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19" name="Teal Tile"/>
          <p:cNvGrpSpPr/>
          <p:nvPr userDrawn="1"/>
        </p:nvGrpSpPr>
        <p:grpSpPr>
          <a:xfrm>
            <a:off x="2032244" y="6374278"/>
            <a:ext cx="5655976" cy="5654504"/>
            <a:chOff x="823093" y="-1413626"/>
            <a:chExt cx="2827252" cy="2827252"/>
          </a:xfrm>
        </p:grpSpPr>
        <p:sp>
          <p:nvSpPr>
            <p:cNvPr id="20" name="Rectangle 19"/>
            <p:cNvSpPr/>
            <p:nvPr/>
          </p:nvSpPr>
          <p:spPr bwMode="auto">
            <a:xfrm>
              <a:off x="823093" y="-1413626"/>
              <a:ext cx="2827252" cy="2827252"/>
            </a:xfrm>
            <a:prstGeom prst="rect">
              <a:avLst/>
            </a:prstGeom>
            <a:solidFill>
              <a:schemeClr val="accent4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vert="horz" wrap="square" lIns="91436" tIns="45718" rIns="91436" bIns="45718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1827392"/>
              <a:endParaRPr lang="en-US" sz="4534" dirty="0">
                <a:solidFill>
                  <a:srgbClr val="FFFFFF">
                    <a:lumMod val="20000"/>
                    <a:lumOff val="80000"/>
                    <a:alpha val="99000"/>
                  </a:srgbClr>
                </a:soli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1" name="Freeform 20"/>
            <p:cNvSpPr>
              <a:spLocks noEditPoints="1"/>
            </p:cNvSpPr>
            <p:nvPr/>
          </p:nvSpPr>
          <p:spPr bwMode="auto">
            <a:xfrm>
              <a:off x="1397725" y="-232569"/>
              <a:ext cx="1677988" cy="465138"/>
            </a:xfrm>
            <a:custGeom>
              <a:avLst/>
              <a:gdLst>
                <a:gd name="T0" fmla="*/ 0 w 209"/>
                <a:gd name="T1" fmla="*/ 25 h 58"/>
                <a:gd name="T2" fmla="*/ 20 w 209"/>
                <a:gd name="T3" fmla="*/ 25 h 58"/>
                <a:gd name="T4" fmla="*/ 20 w 209"/>
                <a:gd name="T5" fmla="*/ 33 h 58"/>
                <a:gd name="T6" fmla="*/ 0 w 209"/>
                <a:gd name="T7" fmla="*/ 33 h 58"/>
                <a:gd name="T8" fmla="*/ 0 w 209"/>
                <a:gd name="T9" fmla="*/ 25 h 58"/>
                <a:gd name="T10" fmla="*/ 40 w 209"/>
                <a:gd name="T11" fmla="*/ 33 h 58"/>
                <a:gd name="T12" fmla="*/ 60 w 209"/>
                <a:gd name="T13" fmla="*/ 33 h 58"/>
                <a:gd name="T14" fmla="*/ 60 w 209"/>
                <a:gd name="T15" fmla="*/ 25 h 58"/>
                <a:gd name="T16" fmla="*/ 40 w 209"/>
                <a:gd name="T17" fmla="*/ 25 h 58"/>
                <a:gd name="T18" fmla="*/ 40 w 209"/>
                <a:gd name="T19" fmla="*/ 33 h 58"/>
                <a:gd name="T20" fmla="*/ 120 w 209"/>
                <a:gd name="T21" fmla="*/ 33 h 58"/>
                <a:gd name="T22" fmla="*/ 140 w 209"/>
                <a:gd name="T23" fmla="*/ 33 h 58"/>
                <a:gd name="T24" fmla="*/ 140 w 209"/>
                <a:gd name="T25" fmla="*/ 25 h 58"/>
                <a:gd name="T26" fmla="*/ 120 w 209"/>
                <a:gd name="T27" fmla="*/ 25 h 58"/>
                <a:gd name="T28" fmla="*/ 120 w 209"/>
                <a:gd name="T29" fmla="*/ 33 h 58"/>
                <a:gd name="T30" fmla="*/ 80 w 209"/>
                <a:gd name="T31" fmla="*/ 33 h 58"/>
                <a:gd name="T32" fmla="*/ 100 w 209"/>
                <a:gd name="T33" fmla="*/ 33 h 58"/>
                <a:gd name="T34" fmla="*/ 100 w 209"/>
                <a:gd name="T35" fmla="*/ 25 h 58"/>
                <a:gd name="T36" fmla="*/ 80 w 209"/>
                <a:gd name="T37" fmla="*/ 25 h 58"/>
                <a:gd name="T38" fmla="*/ 80 w 209"/>
                <a:gd name="T39" fmla="*/ 33 h 58"/>
                <a:gd name="T40" fmla="*/ 207 w 209"/>
                <a:gd name="T41" fmla="*/ 26 h 58"/>
                <a:gd name="T42" fmla="*/ 181 w 209"/>
                <a:gd name="T43" fmla="*/ 0 h 58"/>
                <a:gd name="T44" fmla="*/ 175 w 209"/>
                <a:gd name="T45" fmla="*/ 6 h 58"/>
                <a:gd name="T46" fmla="*/ 195 w 209"/>
                <a:gd name="T47" fmla="*/ 25 h 58"/>
                <a:gd name="T48" fmla="*/ 160 w 209"/>
                <a:gd name="T49" fmla="*/ 25 h 58"/>
                <a:gd name="T50" fmla="*/ 160 w 209"/>
                <a:gd name="T51" fmla="*/ 33 h 58"/>
                <a:gd name="T52" fmla="*/ 195 w 209"/>
                <a:gd name="T53" fmla="*/ 33 h 58"/>
                <a:gd name="T54" fmla="*/ 175 w 209"/>
                <a:gd name="T55" fmla="*/ 52 h 58"/>
                <a:gd name="T56" fmla="*/ 181 w 209"/>
                <a:gd name="T57" fmla="*/ 58 h 58"/>
                <a:gd name="T58" fmla="*/ 207 w 209"/>
                <a:gd name="T59" fmla="*/ 32 h 58"/>
                <a:gd name="T60" fmla="*/ 207 w 209"/>
                <a:gd name="T61" fmla="*/ 26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209" h="58">
                  <a:moveTo>
                    <a:pt x="0" y="25"/>
                  </a:moveTo>
                  <a:cubicBezTo>
                    <a:pt x="20" y="25"/>
                    <a:pt x="20" y="25"/>
                    <a:pt x="20" y="25"/>
                  </a:cubicBezTo>
                  <a:cubicBezTo>
                    <a:pt x="20" y="33"/>
                    <a:pt x="20" y="33"/>
                    <a:pt x="20" y="33"/>
                  </a:cubicBezTo>
                  <a:cubicBezTo>
                    <a:pt x="0" y="33"/>
                    <a:pt x="0" y="33"/>
                    <a:pt x="0" y="33"/>
                  </a:cubicBezTo>
                  <a:lnTo>
                    <a:pt x="0" y="25"/>
                  </a:lnTo>
                  <a:close/>
                  <a:moveTo>
                    <a:pt x="40" y="33"/>
                  </a:moveTo>
                  <a:cubicBezTo>
                    <a:pt x="60" y="33"/>
                    <a:pt x="60" y="33"/>
                    <a:pt x="60" y="33"/>
                  </a:cubicBezTo>
                  <a:cubicBezTo>
                    <a:pt x="60" y="25"/>
                    <a:pt x="60" y="25"/>
                    <a:pt x="60" y="25"/>
                  </a:cubicBezTo>
                  <a:cubicBezTo>
                    <a:pt x="40" y="25"/>
                    <a:pt x="40" y="25"/>
                    <a:pt x="40" y="25"/>
                  </a:cubicBezTo>
                  <a:lnTo>
                    <a:pt x="40" y="33"/>
                  </a:lnTo>
                  <a:close/>
                  <a:moveTo>
                    <a:pt x="120" y="33"/>
                  </a:moveTo>
                  <a:cubicBezTo>
                    <a:pt x="140" y="33"/>
                    <a:pt x="140" y="33"/>
                    <a:pt x="140" y="33"/>
                  </a:cubicBezTo>
                  <a:cubicBezTo>
                    <a:pt x="140" y="25"/>
                    <a:pt x="140" y="25"/>
                    <a:pt x="140" y="25"/>
                  </a:cubicBezTo>
                  <a:cubicBezTo>
                    <a:pt x="120" y="25"/>
                    <a:pt x="120" y="25"/>
                    <a:pt x="120" y="25"/>
                  </a:cubicBezTo>
                  <a:lnTo>
                    <a:pt x="120" y="33"/>
                  </a:lnTo>
                  <a:close/>
                  <a:moveTo>
                    <a:pt x="80" y="33"/>
                  </a:moveTo>
                  <a:cubicBezTo>
                    <a:pt x="100" y="33"/>
                    <a:pt x="100" y="33"/>
                    <a:pt x="100" y="33"/>
                  </a:cubicBezTo>
                  <a:cubicBezTo>
                    <a:pt x="100" y="25"/>
                    <a:pt x="100" y="25"/>
                    <a:pt x="100" y="25"/>
                  </a:cubicBezTo>
                  <a:cubicBezTo>
                    <a:pt x="80" y="25"/>
                    <a:pt x="80" y="25"/>
                    <a:pt x="80" y="25"/>
                  </a:cubicBezTo>
                  <a:lnTo>
                    <a:pt x="80" y="33"/>
                  </a:lnTo>
                  <a:close/>
                  <a:moveTo>
                    <a:pt x="207" y="26"/>
                  </a:moveTo>
                  <a:cubicBezTo>
                    <a:pt x="181" y="0"/>
                    <a:pt x="181" y="0"/>
                    <a:pt x="181" y="0"/>
                  </a:cubicBezTo>
                  <a:cubicBezTo>
                    <a:pt x="175" y="6"/>
                    <a:pt x="175" y="6"/>
                    <a:pt x="175" y="6"/>
                  </a:cubicBezTo>
                  <a:cubicBezTo>
                    <a:pt x="195" y="25"/>
                    <a:pt x="195" y="25"/>
                    <a:pt x="195" y="25"/>
                  </a:cubicBezTo>
                  <a:cubicBezTo>
                    <a:pt x="160" y="25"/>
                    <a:pt x="160" y="25"/>
                    <a:pt x="160" y="25"/>
                  </a:cubicBezTo>
                  <a:cubicBezTo>
                    <a:pt x="160" y="33"/>
                    <a:pt x="160" y="33"/>
                    <a:pt x="160" y="33"/>
                  </a:cubicBezTo>
                  <a:cubicBezTo>
                    <a:pt x="195" y="33"/>
                    <a:pt x="195" y="33"/>
                    <a:pt x="195" y="33"/>
                  </a:cubicBezTo>
                  <a:cubicBezTo>
                    <a:pt x="175" y="52"/>
                    <a:pt x="175" y="52"/>
                    <a:pt x="175" y="52"/>
                  </a:cubicBezTo>
                  <a:cubicBezTo>
                    <a:pt x="181" y="58"/>
                    <a:pt x="181" y="58"/>
                    <a:pt x="181" y="58"/>
                  </a:cubicBezTo>
                  <a:cubicBezTo>
                    <a:pt x="207" y="32"/>
                    <a:pt x="207" y="32"/>
                    <a:pt x="207" y="32"/>
                  </a:cubicBezTo>
                  <a:cubicBezTo>
                    <a:pt x="209" y="30"/>
                    <a:pt x="209" y="28"/>
                    <a:pt x="207" y="2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827920"/>
              <a:endParaRPr lang="en-US" sz="3734" dirty="0">
                <a:solidFill>
                  <a:srgbClr val="FFFFFF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05368432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38497" y="457229"/>
            <a:ext cx="22303834" cy="1218798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1038497" y="2895606"/>
            <a:ext cx="22303834" cy="400109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3086993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038497" y="2895606"/>
            <a:ext cx="22303834" cy="4001096"/>
          </a:xfrm>
        </p:spPr>
        <p:txBody>
          <a:bodyPr/>
          <a:lstStyle>
            <a:lvl1pPr>
              <a:lnSpc>
                <a:spcPct val="90000"/>
              </a:lnSpc>
              <a:defRPr/>
            </a:lvl1pPr>
            <a:lvl2pPr>
              <a:lnSpc>
                <a:spcPct val="90000"/>
              </a:lnSpc>
              <a:defRPr/>
            </a:lvl2pPr>
            <a:lvl3pPr>
              <a:lnSpc>
                <a:spcPct val="90000"/>
              </a:lnSpc>
              <a:defRPr/>
            </a:lvl3pPr>
            <a:lvl4pPr>
              <a:lnSpc>
                <a:spcPct val="90000"/>
              </a:lnSpc>
              <a:defRPr/>
            </a:lvl4pPr>
            <a:lvl5pPr>
              <a:lnSpc>
                <a:spcPct val="90000"/>
              </a:lnSpc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8927173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038497" y="2895625"/>
            <a:ext cx="10975658" cy="3529170"/>
          </a:xfrm>
        </p:spPr>
        <p:txBody>
          <a:bodyPr/>
          <a:lstStyle>
            <a:lvl1pPr marL="679656" indent="-679656">
              <a:lnSpc>
                <a:spcPct val="90000"/>
              </a:lnSpc>
              <a:defRPr sz="5600"/>
            </a:lvl1pPr>
            <a:lvl2pPr marL="1346084" indent="-650566">
              <a:lnSpc>
                <a:spcPct val="90000"/>
              </a:lnSpc>
              <a:defRPr sz="4800"/>
            </a:lvl2pPr>
            <a:lvl3pPr marL="1906722" indent="-576514">
              <a:lnSpc>
                <a:spcPct val="90000"/>
              </a:lnSpc>
              <a:defRPr sz="4000"/>
            </a:lvl3pPr>
            <a:lvl4pPr marL="2454138" indent="-547412">
              <a:lnSpc>
                <a:spcPct val="90000"/>
              </a:lnSpc>
              <a:defRPr sz="3734"/>
            </a:lvl4pPr>
            <a:lvl5pPr marL="3030650" indent="-560642">
              <a:lnSpc>
                <a:spcPct val="90000"/>
              </a:lnSpc>
              <a:defRPr sz="3734"/>
            </a:lvl5pPr>
            <a:lvl6pPr>
              <a:defRPr sz="3734"/>
            </a:lvl6pPr>
            <a:lvl7pPr>
              <a:defRPr sz="3734"/>
            </a:lvl7pPr>
            <a:lvl8pPr>
              <a:defRPr sz="3734"/>
            </a:lvl8pPr>
            <a:lvl9pPr>
              <a:defRPr sz="3734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2366673" y="2895625"/>
            <a:ext cx="10975658" cy="3529170"/>
          </a:xfrm>
        </p:spPr>
        <p:txBody>
          <a:bodyPr/>
          <a:lstStyle>
            <a:lvl1pPr marL="695518" indent="-695518">
              <a:lnSpc>
                <a:spcPct val="90000"/>
              </a:lnSpc>
              <a:defRPr sz="5600"/>
            </a:lvl1pPr>
            <a:lvl2pPr marL="1346084" indent="-679656">
              <a:lnSpc>
                <a:spcPct val="90000"/>
              </a:lnSpc>
              <a:defRPr sz="4800"/>
            </a:lvl2pPr>
            <a:lvl3pPr marL="1922598" indent="-605616">
              <a:lnSpc>
                <a:spcPct val="90000"/>
              </a:lnSpc>
              <a:defRPr sz="4000"/>
            </a:lvl3pPr>
            <a:lvl4pPr marL="2454138" indent="-531538">
              <a:lnSpc>
                <a:spcPct val="90000"/>
              </a:lnSpc>
              <a:defRPr sz="3734"/>
            </a:lvl4pPr>
            <a:lvl5pPr marL="3030650" indent="-547412">
              <a:lnSpc>
                <a:spcPct val="90000"/>
              </a:lnSpc>
              <a:defRPr sz="3734"/>
            </a:lvl5pPr>
            <a:lvl6pPr>
              <a:defRPr sz="3734"/>
            </a:lvl6pPr>
            <a:lvl7pPr>
              <a:defRPr sz="3734"/>
            </a:lvl7pPr>
            <a:lvl8pPr>
              <a:defRPr sz="3734"/>
            </a:lvl8pPr>
            <a:lvl9pPr>
              <a:defRPr sz="3734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6528810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38497" y="2813905"/>
            <a:ext cx="10975658" cy="701730"/>
          </a:xfrm>
        </p:spPr>
        <p:txBody>
          <a:bodyPr anchor="b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5066" b="1"/>
            </a:lvl1pPr>
            <a:lvl2pPr marL="913948" indent="0">
              <a:buNone/>
              <a:defRPr sz="4000" b="1"/>
            </a:lvl2pPr>
            <a:lvl3pPr marL="1827920" indent="0">
              <a:buNone/>
              <a:defRPr sz="3734" b="1"/>
            </a:lvl3pPr>
            <a:lvl4pPr marL="2741876" indent="0">
              <a:buNone/>
              <a:defRPr sz="3200" b="1"/>
            </a:lvl4pPr>
            <a:lvl5pPr marL="3655842" indent="0">
              <a:buNone/>
              <a:defRPr sz="3200" b="1"/>
            </a:lvl5pPr>
            <a:lvl6pPr marL="4569784" indent="0">
              <a:buNone/>
              <a:defRPr sz="3200" b="1"/>
            </a:lvl6pPr>
            <a:lvl7pPr marL="5483754" indent="0">
              <a:buNone/>
              <a:defRPr sz="3200" b="1"/>
            </a:lvl7pPr>
            <a:lvl8pPr marL="6397718" indent="0">
              <a:buNone/>
              <a:defRPr sz="3200" b="1"/>
            </a:lvl8pPr>
            <a:lvl9pPr marL="7311686" indent="0">
              <a:buNone/>
              <a:defRPr sz="3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016002" y="4267227"/>
            <a:ext cx="10972800" cy="3110594"/>
          </a:xfrm>
        </p:spPr>
        <p:txBody>
          <a:bodyPr/>
          <a:lstStyle>
            <a:lvl1pPr marL="563288" indent="-563288">
              <a:defRPr sz="4534"/>
            </a:lvl1pPr>
            <a:lvl2pPr marL="1123930" indent="-531538">
              <a:defRPr sz="4000"/>
            </a:lvl2pPr>
            <a:lvl3pPr marL="1626404" indent="-486598">
              <a:defRPr sz="3734"/>
            </a:lvl3pPr>
            <a:lvl4pPr marL="2099776" indent="-457514">
              <a:defRPr sz="3466"/>
            </a:lvl4pPr>
            <a:lvl5pPr marL="2557290" indent="-412564">
              <a:defRPr sz="3466"/>
            </a:lvl5pPr>
            <a:lvl6pPr>
              <a:defRPr sz="3200"/>
            </a:lvl6pPr>
            <a:lvl7pPr>
              <a:defRPr sz="3200"/>
            </a:lvl7pPr>
            <a:lvl8pPr>
              <a:defRPr sz="3200"/>
            </a:lvl8pPr>
            <a:lvl9pPr>
              <a:defRPr sz="3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12366673" y="2813905"/>
            <a:ext cx="10975658" cy="701730"/>
          </a:xfrm>
        </p:spPr>
        <p:txBody>
          <a:bodyPr anchor="b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5066" b="1"/>
            </a:lvl1pPr>
            <a:lvl2pPr marL="913948" indent="0">
              <a:buNone/>
              <a:defRPr sz="4000" b="1"/>
            </a:lvl2pPr>
            <a:lvl3pPr marL="1827920" indent="0">
              <a:buNone/>
              <a:defRPr sz="3734" b="1"/>
            </a:lvl3pPr>
            <a:lvl4pPr marL="2741876" indent="0">
              <a:buNone/>
              <a:defRPr sz="3200" b="1"/>
            </a:lvl4pPr>
            <a:lvl5pPr marL="3655842" indent="0">
              <a:buNone/>
              <a:defRPr sz="3200" b="1"/>
            </a:lvl5pPr>
            <a:lvl6pPr marL="4569784" indent="0">
              <a:buNone/>
              <a:defRPr sz="3200" b="1"/>
            </a:lvl6pPr>
            <a:lvl7pPr marL="5483754" indent="0">
              <a:buNone/>
              <a:defRPr sz="3200" b="1"/>
            </a:lvl7pPr>
            <a:lvl8pPr marL="6397718" indent="0">
              <a:buNone/>
              <a:defRPr sz="3200" b="1"/>
            </a:lvl8pPr>
            <a:lvl9pPr marL="7311686" indent="0">
              <a:buNone/>
              <a:defRPr sz="3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12366673" y="4267203"/>
            <a:ext cx="10975658" cy="3157238"/>
          </a:xfrm>
        </p:spPr>
        <p:txBody>
          <a:bodyPr/>
          <a:lstStyle>
            <a:lvl1pPr marL="592386" indent="-592386">
              <a:defRPr sz="4534"/>
            </a:lvl1pPr>
            <a:lvl2pPr marL="1139800" indent="-547412">
              <a:defRPr sz="4000"/>
            </a:lvl2pPr>
            <a:lvl3pPr marL="1642274" indent="-489246">
              <a:defRPr sz="3734"/>
            </a:lvl3pPr>
            <a:lvl4pPr marL="2099776" indent="-473378">
              <a:defRPr sz="3466"/>
            </a:lvl4pPr>
            <a:lvl5pPr marL="2557290" indent="-441640">
              <a:defRPr sz="3466"/>
            </a:lvl5pPr>
            <a:lvl6pPr>
              <a:defRPr sz="3200"/>
            </a:lvl6pPr>
            <a:lvl7pPr>
              <a:defRPr sz="3200"/>
            </a:lvl7pPr>
            <a:lvl8pPr>
              <a:defRPr sz="3200"/>
            </a:lvl8pPr>
            <a:lvl9pPr>
              <a:defRPr sz="3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47295697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94554457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18273813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WALKIN - Prints in GRAYS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55979976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MS_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33561608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ack Layout -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 flip="none" rotWithShape="1">
                  <a:gsLst>
                    <a:gs pos="417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  <a:tileRect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 bwMode="white">
          <a:xfrm>
            <a:off x="1038497" y="2895606"/>
            <a:ext cx="22303834" cy="4001096"/>
          </a:xfrm>
        </p:spPr>
        <p:txBody>
          <a:bodyPr/>
          <a:lstStyle>
            <a:lvl1pPr>
              <a:buClr>
                <a:srgbClr val="FFFFFF"/>
              </a:buClr>
              <a:buSzPct val="70000"/>
              <a:buFont typeface="Wingdings" pitchFamily="2" charset="2"/>
              <a:buChar char="l"/>
              <a:defRPr>
                <a:gradFill>
                  <a:gsLst>
                    <a:gs pos="0">
                      <a:srgbClr val="FFFFFF"/>
                    </a:gs>
                    <a:gs pos="86000">
                      <a:srgbClr val="FFFFFF"/>
                    </a:gs>
                  </a:gsLst>
                  <a:lin ang="5400000" scaled="0"/>
                </a:gradFill>
              </a:defRPr>
            </a:lvl1pPr>
            <a:lvl2pPr>
              <a:buClr>
                <a:srgbClr val="FFFFFF"/>
              </a:buClr>
              <a:buSzPct val="70000"/>
              <a:buFont typeface="Wingdings" pitchFamily="2" charset="2"/>
              <a:buChar char="l"/>
              <a:defRPr>
                <a:gradFill>
                  <a:gsLst>
                    <a:gs pos="0">
                      <a:srgbClr val="FFFFFF"/>
                    </a:gs>
                    <a:gs pos="86000">
                      <a:srgbClr val="FFFFFF"/>
                    </a:gs>
                  </a:gsLst>
                  <a:lin ang="5400000" scaled="0"/>
                </a:gradFill>
              </a:defRPr>
            </a:lvl2pPr>
            <a:lvl3pPr>
              <a:buClr>
                <a:srgbClr val="FFFFFF"/>
              </a:buClr>
              <a:buSzPct val="70000"/>
              <a:buFont typeface="Wingdings" pitchFamily="2" charset="2"/>
              <a:buChar char="l"/>
              <a:defRPr>
                <a:gradFill>
                  <a:gsLst>
                    <a:gs pos="0">
                      <a:srgbClr val="FFFFFF"/>
                    </a:gs>
                    <a:gs pos="86000">
                      <a:srgbClr val="FFFFFF"/>
                    </a:gs>
                  </a:gsLst>
                  <a:lin ang="5400000" scaled="0"/>
                </a:gradFill>
              </a:defRPr>
            </a:lvl3pPr>
            <a:lvl4pPr>
              <a:buClr>
                <a:srgbClr val="FFFFFF"/>
              </a:buClr>
              <a:buSzPct val="70000"/>
              <a:buFont typeface="Wingdings" pitchFamily="2" charset="2"/>
              <a:buChar char="l"/>
              <a:defRPr>
                <a:gradFill>
                  <a:gsLst>
                    <a:gs pos="0">
                      <a:srgbClr val="FFFFFF"/>
                    </a:gs>
                    <a:gs pos="86000">
                      <a:srgbClr val="FFFFFF"/>
                    </a:gs>
                  </a:gsLst>
                  <a:lin ang="5400000" scaled="0"/>
                </a:gradFill>
              </a:defRPr>
            </a:lvl4pPr>
            <a:lvl5pPr>
              <a:buClr>
                <a:srgbClr val="FFFFFF"/>
              </a:buClr>
              <a:buSzPct val="70000"/>
              <a:buFont typeface="Wingdings" pitchFamily="2" charset="2"/>
              <a:buChar char="l"/>
              <a:defRPr>
                <a:gradFill>
                  <a:gsLst>
                    <a:gs pos="0">
                      <a:srgbClr val="FFFFFF"/>
                    </a:gs>
                    <a:gs pos="86000">
                      <a:srgbClr val="FFFFFF"/>
                    </a:gs>
                  </a:gsLst>
                  <a:lin ang="5400000" scaled="0"/>
                </a:gra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148650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- Cen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hape 11"/>
          <p:cNvSpPr>
            <a:spLocks noGrp="1"/>
          </p:cNvSpPr>
          <p:nvPr>
            <p:ph type="title"/>
          </p:nvPr>
        </p:nvSpPr>
        <p:spPr>
          <a:xfrm>
            <a:off x="1778000" y="4533900"/>
            <a:ext cx="20828000" cy="4648200"/>
          </a:xfrm>
          <a:prstGeom prst="rect">
            <a:avLst/>
          </a:prstGeom>
        </p:spPr>
        <p:txBody>
          <a:bodyPr/>
          <a:lstStyle/>
          <a:p>
            <a:pPr lvl="0">
              <a:defRPr sz="1800"/>
            </a:pPr>
            <a:r>
              <a:rPr sz="11200"/>
              <a:t>Title Text</a:t>
            </a:r>
          </a:p>
        </p:txBody>
      </p:sp>
    </p:spTree>
  </p:cSld>
  <p:clrMapOvr>
    <a:masterClrMapping/>
  </p:clrMapOvr>
  <p:transition spd="med"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ack Note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417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 bwMode="white">
          <a:xfrm>
            <a:off x="1038497" y="2895606"/>
            <a:ext cx="22303834" cy="4001096"/>
          </a:xfrm>
        </p:spPr>
        <p:txBody>
          <a:bodyPr/>
          <a:lstStyle>
            <a:lvl1pPr>
              <a:buClr>
                <a:srgbClr val="FFFFFF"/>
              </a:buClr>
              <a:buSzPct val="70000"/>
              <a:buFont typeface="Wingdings" pitchFamily="2" charset="2"/>
              <a:buChar char="l"/>
              <a:defRPr>
                <a:gradFill>
                  <a:gsLst>
                    <a:gs pos="0">
                      <a:srgbClr val="FFFFFF"/>
                    </a:gs>
                    <a:gs pos="86000">
                      <a:srgbClr val="FFFFFF"/>
                    </a:gs>
                  </a:gsLst>
                  <a:lin ang="5400000" scaled="0"/>
                </a:gradFill>
              </a:defRPr>
            </a:lvl1pPr>
            <a:lvl2pPr>
              <a:buClr>
                <a:srgbClr val="FFFFFF"/>
              </a:buClr>
              <a:buSzPct val="70000"/>
              <a:buFont typeface="Wingdings" pitchFamily="2" charset="2"/>
              <a:buChar char="l"/>
              <a:defRPr>
                <a:gradFill>
                  <a:gsLst>
                    <a:gs pos="0">
                      <a:srgbClr val="FFFFFF"/>
                    </a:gs>
                    <a:gs pos="86000">
                      <a:srgbClr val="FFFFFF"/>
                    </a:gs>
                  </a:gsLst>
                  <a:lin ang="5400000" scaled="0"/>
                </a:gradFill>
              </a:defRPr>
            </a:lvl2pPr>
            <a:lvl3pPr>
              <a:buClr>
                <a:srgbClr val="FFFFFF"/>
              </a:buClr>
              <a:buSzPct val="70000"/>
              <a:buFont typeface="Wingdings" pitchFamily="2" charset="2"/>
              <a:buChar char="l"/>
              <a:defRPr>
                <a:gradFill>
                  <a:gsLst>
                    <a:gs pos="0">
                      <a:srgbClr val="FFFFFF"/>
                    </a:gs>
                    <a:gs pos="86000">
                      <a:srgbClr val="FFFFFF"/>
                    </a:gs>
                  </a:gsLst>
                  <a:lin ang="5400000" scaled="0"/>
                </a:gradFill>
              </a:defRPr>
            </a:lvl3pPr>
            <a:lvl4pPr>
              <a:buClr>
                <a:srgbClr val="FFFFFF"/>
              </a:buClr>
              <a:buSzPct val="70000"/>
              <a:buFont typeface="Wingdings" pitchFamily="2" charset="2"/>
              <a:buChar char="l"/>
              <a:defRPr>
                <a:gradFill>
                  <a:gsLst>
                    <a:gs pos="0">
                      <a:srgbClr val="FFFFFF"/>
                    </a:gs>
                    <a:gs pos="86000">
                      <a:srgbClr val="FFFFFF"/>
                    </a:gs>
                  </a:gsLst>
                  <a:lin ang="5400000" scaled="0"/>
                </a:gradFill>
              </a:defRPr>
            </a:lvl4pPr>
            <a:lvl5pPr>
              <a:buClr>
                <a:srgbClr val="FFFFFF"/>
              </a:buClr>
              <a:buSzPct val="70000"/>
              <a:buFont typeface="Wingdings" pitchFamily="2" charset="2"/>
              <a:buChar char="l"/>
              <a:defRPr>
                <a:gradFill>
                  <a:gsLst>
                    <a:gs pos="0">
                      <a:srgbClr val="FFFFFF"/>
                    </a:gs>
                    <a:gs pos="86000">
                      <a:srgbClr val="FFFFFF"/>
                    </a:gs>
                  </a:gsLst>
                  <a:lin ang="5400000" scaled="0"/>
                </a:gra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5" y="12477761"/>
            <a:ext cx="24384002" cy="1238250"/>
          </a:xfrm>
          <a:solidFill>
            <a:srgbClr val="FFFF99"/>
          </a:solidFill>
        </p:spPr>
        <p:txBody>
          <a:bodyPr wrap="square" lIns="152333" tIns="76167" rIns="152333" bIns="76167" anchor="b" anchorCtr="0">
            <a:noAutofit/>
          </a:bodyPr>
          <a:lstStyle>
            <a:lvl1pPr algn="r">
              <a:buFont typeface="Arial" pitchFamily="34" charset="0"/>
              <a:buNone/>
              <a:defRPr spc="-102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85385415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and  Non-Bullete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38529" y="457221"/>
            <a:ext cx="22303834" cy="121879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1038529" y="2895601"/>
            <a:ext cx="22303834" cy="1892826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1800"/>
              </a:spcAft>
              <a:buNone/>
              <a:defRPr sz="8000" spc="-200" baseline="0">
                <a:latin typeface="Segoe UI Light" pitchFamily="34" charset="0"/>
              </a:defRPr>
            </a:lvl1pPr>
            <a:lvl2pPr marL="0" indent="0">
              <a:spcBef>
                <a:spcPts val="0"/>
              </a:spcBef>
              <a:spcAft>
                <a:spcPts val="800"/>
              </a:spcAft>
              <a:buNone/>
              <a:defRPr sz="4000" spc="-102" baseline="0">
                <a:gradFill flip="none" rotWithShape="1">
                  <a:gsLst>
                    <a:gs pos="0">
                      <a:schemeClr val="tx1">
                        <a:lumMod val="75000"/>
                      </a:schemeClr>
                    </a:gs>
                    <a:gs pos="86000">
                      <a:schemeClr val="tx1">
                        <a:lumMod val="75000"/>
                      </a:schemeClr>
                    </a:gs>
                  </a:gsLst>
                  <a:path path="circle">
                    <a:fillToRect r="100000" b="100000"/>
                  </a:path>
                  <a:tileRect l="-100000" t="-100000"/>
                </a:gradFill>
              </a:defRPr>
            </a:lvl2pPr>
            <a:lvl3pPr marL="0" indent="0">
              <a:spcBef>
                <a:spcPts val="0"/>
              </a:spcBef>
              <a:spcAft>
                <a:spcPts val="800"/>
              </a:spcAft>
              <a:buNone/>
              <a:defRPr sz="4000"/>
            </a:lvl3pPr>
            <a:lvl4pPr marL="0" indent="0">
              <a:spcBef>
                <a:spcPts val="0"/>
              </a:spcBef>
              <a:spcAft>
                <a:spcPts val="80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800"/>
              </a:spcAft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05598914"/>
      </p:ext>
    </p:extLst>
  </p:cSld>
  <p:clrMapOvr>
    <a:masterClrMapping/>
  </p:clrMapOvr>
  <p:transition>
    <p:wipe dir="r"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ark -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1038497" y="457205"/>
            <a:ext cx="22303834" cy="1218798"/>
          </a:xfrm>
        </p:spPr>
        <p:txBody>
          <a:bodyPr/>
          <a:lstStyle>
            <a:lvl1pPr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ontent Slide Title</a:t>
            </a:r>
          </a:p>
        </p:txBody>
      </p:sp>
    </p:spTree>
    <p:extLst>
      <p:ext uri="{BB962C8B-B14F-4D97-AF65-F5344CB8AC3E}">
        <p14:creationId xmlns:p14="http://schemas.microsoft.com/office/powerpoint/2010/main" val="4235995603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3178" y="3179"/>
          <a:ext cx="3176" cy="31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7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178" y="3179"/>
                        <a:ext cx="3176" cy="31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Content Placeholder 14"/>
          <p:cNvSpPr>
            <a:spLocks noGrp="1"/>
          </p:cNvSpPr>
          <p:nvPr>
            <p:ph sz="quarter" idx="18"/>
            <p:custDataLst>
              <p:tags r:id="rId3"/>
            </p:custDataLst>
          </p:nvPr>
        </p:nvSpPr>
        <p:spPr>
          <a:xfrm>
            <a:off x="1228590" y="2838734"/>
            <a:ext cx="21537608" cy="400109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12"/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1219203" y="1897035"/>
            <a:ext cx="21971222" cy="609602"/>
          </a:xfrm>
        </p:spPr>
        <p:txBody>
          <a:bodyPr lIns="0" anchor="b" anchorCtr="0">
            <a:noAutofit/>
          </a:bodyPr>
          <a:lstStyle>
            <a:lvl1pPr marL="0" indent="0" algn="l">
              <a:buFont typeface="Arial" pitchFamily="34" charset="0"/>
              <a:buNone/>
              <a:defRPr sz="3200" b="1" cap="all" spc="0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dirty="0"/>
              <a:t>CLICK TO EDIT SUBTITLE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1121428" y="498479"/>
            <a:ext cx="22069000" cy="1218798"/>
          </a:xfrm>
        </p:spPr>
        <p:txBody>
          <a:bodyPr lIns="0" anchor="t" anchorCtr="0"/>
          <a:lstStyle>
            <a:lvl1pPr algn="l">
              <a:defRPr b="1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3618633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_Only_With_Grid_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7" name="Left Mask"/>
          <p:cNvSpPr/>
          <p:nvPr userDrawn="1"/>
        </p:nvSpPr>
        <p:spPr bwMode="auto">
          <a:xfrm>
            <a:off x="1" y="3028952"/>
            <a:ext cx="8022138" cy="2999232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8" tIns="91446" rIns="182888" bIns="9144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828320"/>
            <a:endParaRPr lang="en-US" sz="4534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ea typeface="Segoe UI" pitchFamily="34" charset="0"/>
              <a:cs typeface="Segoe UI" pitchFamily="34" charset="0"/>
            </a:endParaRPr>
          </a:p>
        </p:txBody>
      </p:sp>
      <p:sp useBgFill="1">
        <p:nvSpPr>
          <p:cNvPr id="43" name="Top Mask"/>
          <p:cNvSpPr/>
          <p:nvPr userDrawn="1"/>
        </p:nvSpPr>
        <p:spPr bwMode="auto">
          <a:xfrm>
            <a:off x="0" y="3"/>
            <a:ext cx="24384000" cy="3028950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8" tIns="91446" rIns="182888" bIns="9144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828320"/>
            <a:endParaRPr lang="en-US" sz="4534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ea typeface="Segoe UI" pitchFamily="34" charset="0"/>
              <a:cs typeface="Segoe UI" pitchFamily="34" charset="0"/>
            </a:endParaRPr>
          </a:p>
        </p:txBody>
      </p:sp>
      <p:sp useBgFill="1">
        <p:nvSpPr>
          <p:cNvPr id="44" name="Right Mask"/>
          <p:cNvSpPr/>
          <p:nvPr userDrawn="1"/>
        </p:nvSpPr>
        <p:spPr bwMode="auto">
          <a:xfrm>
            <a:off x="22351474" y="3261615"/>
            <a:ext cx="2032528" cy="8309966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8" tIns="91446" rIns="182888" bIns="9144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828320"/>
            <a:endParaRPr lang="en-US" sz="4534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ea typeface="Segoe UI" pitchFamily="34" charset="0"/>
              <a:cs typeface="Segoe UI" pitchFamily="34" charset="0"/>
            </a:endParaRPr>
          </a:p>
        </p:txBody>
      </p:sp>
      <p:sp useBgFill="1">
        <p:nvSpPr>
          <p:cNvPr id="45" name="Bottom Mask"/>
          <p:cNvSpPr/>
          <p:nvPr userDrawn="1"/>
        </p:nvSpPr>
        <p:spPr bwMode="auto">
          <a:xfrm>
            <a:off x="5" y="12020553"/>
            <a:ext cx="24384002" cy="1695450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8" tIns="91446" rIns="182888" bIns="9144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828320"/>
            <a:endParaRPr lang="en-US" sz="4534" dirty="0">
              <a:solidFill>
                <a:srgbClr val="FFFFFF">
                  <a:lumMod val="20000"/>
                  <a:lumOff val="80000"/>
                  <a:alpha val="99000"/>
                </a:srgbClr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40" name="Title 1"/>
          <p:cNvSpPr>
            <a:spLocks noGrp="1"/>
          </p:cNvSpPr>
          <p:nvPr>
            <p:ph type="title"/>
          </p:nvPr>
        </p:nvSpPr>
        <p:spPr>
          <a:xfrm>
            <a:off x="1038497" y="457205"/>
            <a:ext cx="22303834" cy="1218798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9076508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1219200" y="12712703"/>
            <a:ext cx="5689600" cy="730250"/>
          </a:xfrm>
          <a:prstGeom prst="rect">
            <a:avLst/>
          </a:prstGeom>
        </p:spPr>
        <p:txBody>
          <a:bodyPr/>
          <a:lstStyle/>
          <a:p>
            <a:fld id="{9A7C601C-FD21-434A-A486-83A55A8B2E32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7/5/30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8331200" y="12712703"/>
            <a:ext cx="7721600" cy="730250"/>
          </a:xfrm>
          <a:prstGeom prst="rect">
            <a:avLst/>
          </a:prstGeom>
        </p:spPr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17475200" y="12712703"/>
            <a:ext cx="5689600" cy="730250"/>
          </a:xfrm>
          <a:prstGeom prst="rect">
            <a:avLst/>
          </a:prstGeom>
        </p:spPr>
        <p:txBody>
          <a:bodyPr/>
          <a:lstStyle/>
          <a:p>
            <a:fld id="{BAEC3CBB-3DD3-44D7-A6CB-12C5A9732C69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85424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 dir="u"/>
      </p:transition>
    </mc:Choice>
    <mc:Fallback xmlns="">
      <p:transition spd="slow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Photo -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hape 13"/>
          <p:cNvSpPr>
            <a:spLocks noGrp="1"/>
          </p:cNvSpPr>
          <p:nvPr>
            <p:ph type="title"/>
          </p:nvPr>
        </p:nvSpPr>
        <p:spPr>
          <a:xfrm>
            <a:off x="1651000" y="1104900"/>
            <a:ext cx="10223500" cy="5613400"/>
          </a:xfrm>
          <a:prstGeom prst="rect">
            <a:avLst/>
          </a:prstGeom>
        </p:spPr>
        <p:txBody>
          <a:bodyPr anchor="b"/>
          <a:lstStyle>
            <a:lvl1pPr>
              <a:defRPr sz="8400"/>
            </a:lvl1pPr>
          </a:lstStyle>
          <a:p>
            <a:pPr lvl="0">
              <a:defRPr sz="1800"/>
            </a:pPr>
            <a:r>
              <a:rPr sz="8400"/>
              <a:t>Title Text</a:t>
            </a:r>
          </a:p>
        </p:txBody>
      </p:sp>
      <p:sp>
        <p:nvSpPr>
          <p:cNvPr id="14" name="Shape 14"/>
          <p:cNvSpPr>
            <a:spLocks noGrp="1"/>
          </p:cNvSpPr>
          <p:nvPr>
            <p:ph type="body" idx="1"/>
          </p:nvPr>
        </p:nvSpPr>
        <p:spPr>
          <a:xfrm>
            <a:off x="1651000" y="6845300"/>
            <a:ext cx="10223500" cy="5765800"/>
          </a:xfrm>
          <a:prstGeom prst="rect">
            <a:avLst/>
          </a:prstGeom>
        </p:spPr>
        <p:txBody>
          <a:bodyPr anchor="t"/>
          <a:lstStyle>
            <a:lvl1pPr marL="0" indent="0" algn="ctr">
              <a:spcBef>
                <a:spcPts val="0"/>
              </a:spcBef>
              <a:buSzTx/>
              <a:buNone/>
              <a:defRPr sz="4400"/>
            </a:lvl1pPr>
            <a:lvl2pPr marL="0" indent="228600" algn="ctr">
              <a:spcBef>
                <a:spcPts val="0"/>
              </a:spcBef>
              <a:buSzTx/>
              <a:buNone/>
              <a:defRPr sz="4400"/>
            </a:lvl2pPr>
            <a:lvl3pPr marL="0" indent="457200" algn="ctr">
              <a:spcBef>
                <a:spcPts val="0"/>
              </a:spcBef>
              <a:buSzTx/>
              <a:buNone/>
              <a:defRPr sz="4400"/>
            </a:lvl3pPr>
            <a:lvl4pPr marL="0" indent="685800" algn="ctr">
              <a:spcBef>
                <a:spcPts val="0"/>
              </a:spcBef>
              <a:buSzTx/>
              <a:buNone/>
              <a:defRPr sz="4400"/>
            </a:lvl4pPr>
            <a:lvl5pPr marL="0" indent="914400" algn="ctr">
              <a:spcBef>
                <a:spcPts val="0"/>
              </a:spcBef>
              <a:buSzTx/>
              <a:buNone/>
              <a:defRPr sz="4400"/>
            </a:lvl5pPr>
          </a:lstStyle>
          <a:p>
            <a:pPr lvl="0">
              <a:defRPr sz="1800"/>
            </a:pPr>
            <a:r>
              <a:rPr sz="4400"/>
              <a:t>Body Level One</a:t>
            </a:r>
          </a:p>
          <a:p>
            <a:pPr lvl="1">
              <a:defRPr sz="1800"/>
            </a:pPr>
            <a:r>
              <a:rPr sz="4400"/>
              <a:t>Body Level Two</a:t>
            </a:r>
          </a:p>
          <a:p>
            <a:pPr lvl="2">
              <a:defRPr sz="1800"/>
            </a:pPr>
            <a:r>
              <a:rPr sz="4400"/>
              <a:t>Body Level Three</a:t>
            </a:r>
          </a:p>
          <a:p>
            <a:pPr lvl="3">
              <a:defRPr sz="1800"/>
            </a:pPr>
            <a:r>
              <a:rPr sz="4400"/>
              <a:t>Body Level Four</a:t>
            </a:r>
          </a:p>
          <a:p>
            <a:pPr lvl="4">
              <a:defRPr sz="1800"/>
            </a:pPr>
            <a:r>
              <a:rPr sz="4400"/>
              <a:t>Body Level Five</a:t>
            </a:r>
          </a:p>
        </p:txBody>
      </p:sp>
    </p:spTree>
  </p:cSld>
  <p:clrMapOvr>
    <a:masterClrMapping/>
  </p:clrMapOvr>
  <p:transition spd="med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-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Shape 16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pPr lvl="0">
              <a:defRPr sz="1800"/>
            </a:pPr>
            <a:r>
              <a:rPr sz="11200"/>
              <a:t>Title Text</a:t>
            </a:r>
          </a:p>
        </p:txBody>
      </p:sp>
    </p:spTree>
  </p:cSld>
  <p:clrMapOvr>
    <a:masterClrMapping/>
  </p:clrMapOvr>
  <p:transition spd="med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ain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Shape 19"/>
          <p:cNvSpPr/>
          <p:nvPr/>
        </p:nvSpPr>
        <p:spPr>
          <a:xfrm>
            <a:off x="5513089" y="-1"/>
            <a:ext cx="2228388" cy="255787"/>
          </a:xfrm>
          <a:prstGeom prst="rect">
            <a:avLst/>
          </a:prstGeom>
          <a:solidFill>
            <a:schemeClr val="accent1"/>
          </a:solidFill>
          <a:ln w="12700">
            <a:miter lim="400000"/>
          </a:ln>
        </p:spPr>
        <p:txBody>
          <a:bodyPr lIns="50800" tIns="50800" rIns="50800" bIns="50800" anchor="ctr"/>
          <a:lstStyle/>
          <a:p>
            <a:pPr lvl="0">
              <a:defRPr sz="3200"/>
            </a:pPr>
            <a:endParaRPr/>
          </a:p>
        </p:txBody>
      </p:sp>
      <p:sp>
        <p:nvSpPr>
          <p:cNvPr id="20" name="Shape 20"/>
          <p:cNvSpPr/>
          <p:nvPr/>
        </p:nvSpPr>
        <p:spPr>
          <a:xfrm>
            <a:off x="7744055" y="-1"/>
            <a:ext cx="2228389" cy="255787"/>
          </a:xfrm>
          <a:prstGeom prst="rect">
            <a:avLst/>
          </a:prstGeom>
          <a:solidFill>
            <a:schemeClr val="accent2"/>
          </a:solidFill>
          <a:ln w="12700">
            <a:miter lim="400000"/>
          </a:ln>
        </p:spPr>
        <p:txBody>
          <a:bodyPr lIns="50800" tIns="50800" rIns="50800" bIns="50800" anchor="ctr"/>
          <a:lstStyle/>
          <a:p>
            <a:pPr lvl="0">
              <a:defRPr sz="3200"/>
            </a:pPr>
            <a:endParaRPr/>
          </a:p>
        </p:txBody>
      </p:sp>
      <p:sp>
        <p:nvSpPr>
          <p:cNvPr id="21" name="Shape 21"/>
          <p:cNvSpPr/>
          <p:nvPr/>
        </p:nvSpPr>
        <p:spPr>
          <a:xfrm>
            <a:off x="9975022" y="-1"/>
            <a:ext cx="2228389" cy="255787"/>
          </a:xfrm>
          <a:prstGeom prst="rect">
            <a:avLst/>
          </a:prstGeom>
          <a:solidFill>
            <a:schemeClr val="accent3"/>
          </a:solidFill>
          <a:ln w="12700">
            <a:miter lim="400000"/>
          </a:ln>
        </p:spPr>
        <p:txBody>
          <a:bodyPr lIns="50800" tIns="50800" rIns="50800" bIns="50800" anchor="ctr"/>
          <a:lstStyle/>
          <a:p>
            <a:pPr lvl="0">
              <a:defRPr sz="3200"/>
            </a:pPr>
            <a:endParaRPr/>
          </a:p>
        </p:txBody>
      </p:sp>
      <p:sp>
        <p:nvSpPr>
          <p:cNvPr id="22" name="Shape 22"/>
          <p:cNvSpPr/>
          <p:nvPr/>
        </p:nvSpPr>
        <p:spPr>
          <a:xfrm>
            <a:off x="12205989" y="-1"/>
            <a:ext cx="2228389" cy="255787"/>
          </a:xfrm>
          <a:prstGeom prst="rect">
            <a:avLst/>
          </a:prstGeom>
          <a:solidFill>
            <a:schemeClr val="accent4"/>
          </a:solidFill>
          <a:ln w="12700">
            <a:miter lim="400000"/>
          </a:ln>
        </p:spPr>
        <p:txBody>
          <a:bodyPr lIns="50800" tIns="50800" rIns="50800" bIns="50800" anchor="ctr"/>
          <a:lstStyle/>
          <a:p>
            <a:pPr lvl="0">
              <a:defRPr sz="3200"/>
            </a:pPr>
            <a:endParaRPr/>
          </a:p>
        </p:txBody>
      </p:sp>
      <p:sp>
        <p:nvSpPr>
          <p:cNvPr id="23" name="Shape 23"/>
          <p:cNvSpPr/>
          <p:nvPr/>
        </p:nvSpPr>
        <p:spPr>
          <a:xfrm>
            <a:off x="14424255" y="-1"/>
            <a:ext cx="2228389" cy="255787"/>
          </a:xfrm>
          <a:prstGeom prst="rect">
            <a:avLst/>
          </a:prstGeom>
          <a:solidFill>
            <a:schemeClr val="accent5"/>
          </a:solidFill>
          <a:ln w="12700">
            <a:miter lim="400000"/>
          </a:ln>
        </p:spPr>
        <p:txBody>
          <a:bodyPr lIns="50800" tIns="50800" rIns="50800" bIns="50800" anchor="ctr"/>
          <a:lstStyle/>
          <a:p>
            <a:pPr lvl="0">
              <a:defRPr sz="3200"/>
            </a:pPr>
            <a:endParaRPr/>
          </a:p>
        </p:txBody>
      </p:sp>
      <p:sp>
        <p:nvSpPr>
          <p:cNvPr id="24" name="Shape 24"/>
          <p:cNvSpPr/>
          <p:nvPr/>
        </p:nvSpPr>
        <p:spPr>
          <a:xfrm>
            <a:off x="16642523" y="-1"/>
            <a:ext cx="2228388" cy="255787"/>
          </a:xfrm>
          <a:prstGeom prst="rect">
            <a:avLst/>
          </a:prstGeom>
          <a:solidFill>
            <a:schemeClr val="accent6"/>
          </a:solidFill>
          <a:ln w="12700">
            <a:miter lim="400000"/>
          </a:ln>
        </p:spPr>
        <p:txBody>
          <a:bodyPr lIns="50800" tIns="50800" rIns="50800" bIns="50800" anchor="ctr"/>
          <a:lstStyle/>
          <a:p>
            <a:pPr lvl="0">
              <a:defRPr sz="3200"/>
            </a:pPr>
            <a:endParaRPr/>
          </a:p>
        </p:txBody>
      </p:sp>
    </p:spTree>
  </p:cSld>
  <p:clrMapOvr>
    <a:masterClrMapping/>
  </p:clrMapOvr>
  <p:transition spd="med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&amp;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Shape 28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pPr lvl="0">
              <a:defRPr sz="1800"/>
            </a:pPr>
            <a:r>
              <a:rPr sz="11200"/>
              <a:t>Title Text</a:t>
            </a:r>
          </a:p>
        </p:txBody>
      </p:sp>
      <p:sp>
        <p:nvSpPr>
          <p:cNvPr id="29" name="Shape 29"/>
          <p:cNvSpPr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/>
          <a:lstStyle/>
          <a:p>
            <a:pPr lvl="0">
              <a:defRPr sz="1800"/>
            </a:pPr>
            <a:r>
              <a:rPr sz="5200"/>
              <a:t>Body Level One</a:t>
            </a:r>
          </a:p>
          <a:p>
            <a:pPr lvl="1">
              <a:defRPr sz="1800"/>
            </a:pPr>
            <a:r>
              <a:rPr sz="5200"/>
              <a:t>Body Level Two</a:t>
            </a:r>
          </a:p>
          <a:p>
            <a:pPr lvl="2">
              <a:defRPr sz="1800"/>
            </a:pPr>
            <a:r>
              <a:rPr sz="5200"/>
              <a:t>Body Level Three</a:t>
            </a:r>
          </a:p>
          <a:p>
            <a:pPr lvl="3">
              <a:defRPr sz="1800"/>
            </a:pPr>
            <a:r>
              <a:rPr sz="5200"/>
              <a:t>Body Level Four</a:t>
            </a:r>
          </a:p>
          <a:p>
            <a:pPr lvl="4">
              <a:defRPr sz="1800"/>
            </a:pPr>
            <a:r>
              <a:rPr sz="5200"/>
              <a:t>Body Level Five</a:t>
            </a:r>
          </a:p>
        </p:txBody>
      </p:sp>
    </p:spTree>
  </p:cSld>
  <p:clrMapOvr>
    <a:masterClrMapping/>
  </p:clrMapOvr>
  <p:transition spd="med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, Bullets &amp;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Shape 31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pPr lvl="0">
              <a:defRPr sz="1800"/>
            </a:pPr>
            <a:r>
              <a:rPr sz="11200"/>
              <a:t>Title Text</a:t>
            </a:r>
          </a:p>
        </p:txBody>
      </p:sp>
      <p:sp>
        <p:nvSpPr>
          <p:cNvPr id="32" name="Shape 32"/>
          <p:cNvSpPr>
            <a:spLocks noGrp="1"/>
          </p:cNvSpPr>
          <p:nvPr>
            <p:ph type="body" idx="1"/>
          </p:nvPr>
        </p:nvSpPr>
        <p:spPr>
          <a:xfrm>
            <a:off x="1689100" y="3238500"/>
            <a:ext cx="10007600" cy="9207500"/>
          </a:xfrm>
          <a:prstGeom prst="rect">
            <a:avLst/>
          </a:prstGeom>
        </p:spPr>
        <p:txBody>
          <a:bodyPr/>
          <a:lstStyle>
            <a:lvl1pPr marL="558800" indent="-558800">
              <a:spcBef>
                <a:spcPts val="4500"/>
              </a:spcBef>
              <a:defRPr sz="4500"/>
            </a:lvl1pPr>
            <a:lvl2pPr marL="1117600" indent="-558800">
              <a:spcBef>
                <a:spcPts val="4500"/>
              </a:spcBef>
              <a:defRPr sz="4500"/>
            </a:lvl2pPr>
            <a:lvl3pPr marL="1676400" indent="-558800">
              <a:spcBef>
                <a:spcPts val="4500"/>
              </a:spcBef>
              <a:defRPr sz="4500"/>
            </a:lvl3pPr>
            <a:lvl4pPr marL="2235200" indent="-558800">
              <a:spcBef>
                <a:spcPts val="4500"/>
              </a:spcBef>
              <a:defRPr sz="4500"/>
            </a:lvl4pPr>
            <a:lvl5pPr marL="2794000" indent="-558800">
              <a:spcBef>
                <a:spcPts val="4500"/>
              </a:spcBef>
              <a:defRPr sz="4500"/>
            </a:lvl5pPr>
          </a:lstStyle>
          <a:p>
            <a:pPr lvl="0">
              <a:defRPr sz="1800"/>
            </a:pPr>
            <a:r>
              <a:rPr sz="4500"/>
              <a:t>Body Level One</a:t>
            </a:r>
          </a:p>
          <a:p>
            <a:pPr lvl="1">
              <a:defRPr sz="1800"/>
            </a:pPr>
            <a:r>
              <a:rPr sz="4500"/>
              <a:t>Body Level Two</a:t>
            </a:r>
          </a:p>
          <a:p>
            <a:pPr lvl="2">
              <a:defRPr sz="1800"/>
            </a:pPr>
            <a:r>
              <a:rPr sz="4500"/>
              <a:t>Body Level Three</a:t>
            </a:r>
          </a:p>
          <a:p>
            <a:pPr lvl="3">
              <a:defRPr sz="1800"/>
            </a:pPr>
            <a:r>
              <a:rPr sz="4500"/>
              <a:t>Body Level Four</a:t>
            </a:r>
          </a:p>
          <a:p>
            <a:pPr lvl="4">
              <a:defRPr sz="1800"/>
            </a:pPr>
            <a:r>
              <a:rPr sz="4500"/>
              <a:t>Body Level Five</a:t>
            </a:r>
          </a:p>
        </p:txBody>
      </p:sp>
    </p:spTree>
  </p:cSld>
  <p:clrMapOvr>
    <a:masterClrMapping/>
  </p:clrMapOvr>
  <p:transition spd="med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Shape 34"/>
          <p:cNvSpPr>
            <a:spLocks noGrp="1"/>
          </p:cNvSpPr>
          <p:nvPr>
            <p:ph type="body" idx="1"/>
          </p:nvPr>
        </p:nvSpPr>
        <p:spPr>
          <a:xfrm>
            <a:off x="1689100" y="1778000"/>
            <a:ext cx="21005800" cy="10147300"/>
          </a:xfrm>
          <a:prstGeom prst="rect">
            <a:avLst/>
          </a:prstGeom>
        </p:spPr>
        <p:txBody>
          <a:bodyPr/>
          <a:lstStyle/>
          <a:p>
            <a:pPr lvl="0">
              <a:defRPr sz="1800"/>
            </a:pPr>
            <a:r>
              <a:rPr sz="5200"/>
              <a:t>Body Level One</a:t>
            </a:r>
          </a:p>
          <a:p>
            <a:pPr lvl="1">
              <a:defRPr sz="1800"/>
            </a:pPr>
            <a:r>
              <a:rPr sz="5200"/>
              <a:t>Body Level Two</a:t>
            </a:r>
          </a:p>
          <a:p>
            <a:pPr lvl="2">
              <a:defRPr sz="1800"/>
            </a:pPr>
            <a:r>
              <a:rPr sz="5200"/>
              <a:t>Body Level Three</a:t>
            </a:r>
          </a:p>
          <a:p>
            <a:pPr lvl="3">
              <a:defRPr sz="1800"/>
            </a:pPr>
            <a:r>
              <a:rPr sz="5200"/>
              <a:t>Body Level Four</a:t>
            </a:r>
          </a:p>
          <a:p>
            <a:pPr lvl="4">
              <a:defRPr sz="1800"/>
            </a:pPr>
            <a:r>
              <a:rPr sz="5200"/>
              <a:t>Body Level Five</a:t>
            </a:r>
          </a:p>
        </p:txBody>
      </p:sp>
    </p:spTree>
  </p:cSld>
  <p:clrMapOvr>
    <a:masterClrMapping/>
  </p:clrMapOvr>
  <p:transition spd="med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slideLayout" Target="../slideLayouts/slideLayout26.xml"/><Relationship Id="rId18" Type="http://schemas.openxmlformats.org/officeDocument/2006/relationships/slideLayout" Target="../slideLayouts/slideLayout31.xml"/><Relationship Id="rId3" Type="http://schemas.openxmlformats.org/officeDocument/2006/relationships/slideLayout" Target="../slideLayouts/slideLayout16.xml"/><Relationship Id="rId21" Type="http://schemas.openxmlformats.org/officeDocument/2006/relationships/slideLayout" Target="../slideLayouts/slideLayout34.xml"/><Relationship Id="rId7" Type="http://schemas.openxmlformats.org/officeDocument/2006/relationships/slideLayout" Target="../slideLayouts/slideLayout20.xml"/><Relationship Id="rId12" Type="http://schemas.openxmlformats.org/officeDocument/2006/relationships/slideLayout" Target="../slideLayouts/slideLayout25.xml"/><Relationship Id="rId17" Type="http://schemas.openxmlformats.org/officeDocument/2006/relationships/slideLayout" Target="../slideLayouts/slideLayout30.xml"/><Relationship Id="rId25" Type="http://schemas.openxmlformats.org/officeDocument/2006/relationships/image" Target="../media/image3.png"/><Relationship Id="rId2" Type="http://schemas.openxmlformats.org/officeDocument/2006/relationships/slideLayout" Target="../slideLayouts/slideLayout15.xml"/><Relationship Id="rId16" Type="http://schemas.openxmlformats.org/officeDocument/2006/relationships/slideLayout" Target="../slideLayouts/slideLayout29.xml"/><Relationship Id="rId20" Type="http://schemas.openxmlformats.org/officeDocument/2006/relationships/slideLayout" Target="../slideLayouts/slideLayout33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24" Type="http://schemas.openxmlformats.org/officeDocument/2006/relationships/image" Target="../media/image2.jpeg"/><Relationship Id="rId5" Type="http://schemas.openxmlformats.org/officeDocument/2006/relationships/slideLayout" Target="../slideLayouts/slideLayout18.xml"/><Relationship Id="rId15" Type="http://schemas.openxmlformats.org/officeDocument/2006/relationships/slideLayout" Target="../slideLayouts/slideLayout28.xml"/><Relationship Id="rId23" Type="http://schemas.openxmlformats.org/officeDocument/2006/relationships/theme" Target="../theme/theme2.xml"/><Relationship Id="rId10" Type="http://schemas.openxmlformats.org/officeDocument/2006/relationships/slideLayout" Target="../slideLayouts/slideLayout23.xml"/><Relationship Id="rId19" Type="http://schemas.openxmlformats.org/officeDocument/2006/relationships/slideLayout" Target="../slideLayouts/slideLayout32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slideLayout" Target="../slideLayouts/slideLayout27.xml"/><Relationship Id="rId22" Type="http://schemas.openxmlformats.org/officeDocument/2006/relationships/slideLayout" Target="../slideLayouts/slideLayout3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2"/>
          <p:cNvSpPr>
            <a:spLocks noGrp="1"/>
          </p:cNvSpPr>
          <p:nvPr>
            <p:ph type="title"/>
          </p:nvPr>
        </p:nvSpPr>
        <p:spPr>
          <a:xfrm>
            <a:off x="1689100" y="952500"/>
            <a:ext cx="21005800" cy="22860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 anchor="ctr">
            <a:normAutofit/>
          </a:bodyPr>
          <a:lstStyle/>
          <a:p>
            <a:pPr lvl="0">
              <a:defRPr sz="1800"/>
            </a:pPr>
            <a:r>
              <a:rPr sz="11200"/>
              <a:t>Title Text</a:t>
            </a:r>
          </a:p>
        </p:txBody>
      </p:sp>
      <p:sp>
        <p:nvSpPr>
          <p:cNvPr id="3" name="Shape 3"/>
          <p:cNvSpPr>
            <a:spLocks noGrp="1"/>
          </p:cNvSpPr>
          <p:nvPr>
            <p:ph type="body" idx="1"/>
          </p:nvPr>
        </p:nvSpPr>
        <p:spPr>
          <a:xfrm>
            <a:off x="1689100" y="3238500"/>
            <a:ext cx="21005800" cy="92075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 anchor="ctr">
            <a:normAutofit/>
          </a:bodyPr>
          <a:lstStyle/>
          <a:p>
            <a:pPr lvl="0">
              <a:defRPr sz="1800"/>
            </a:pPr>
            <a:r>
              <a:rPr sz="5200"/>
              <a:t>Body Level One</a:t>
            </a:r>
          </a:p>
          <a:p>
            <a:pPr lvl="1">
              <a:defRPr sz="1800"/>
            </a:pPr>
            <a:r>
              <a:rPr sz="5200"/>
              <a:t>Body Level Two</a:t>
            </a:r>
          </a:p>
          <a:p>
            <a:pPr lvl="2">
              <a:defRPr sz="1800"/>
            </a:pPr>
            <a:r>
              <a:rPr sz="5200"/>
              <a:t>Body Level Three</a:t>
            </a:r>
          </a:p>
          <a:p>
            <a:pPr lvl="3">
              <a:defRPr sz="1800"/>
            </a:pPr>
            <a:r>
              <a:rPr sz="5200"/>
              <a:t>Body Level Four</a:t>
            </a:r>
          </a:p>
          <a:p>
            <a:pPr lvl="4">
              <a:defRPr sz="1800"/>
            </a:pPr>
            <a:r>
              <a:rPr sz="5200"/>
              <a:t>Body Level Five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</p:sldLayoutIdLst>
  <p:transition spd="med"/>
  <p:txStyles>
    <p:titleStyle>
      <a:lvl1pPr algn="ctr" defTabSz="825500">
        <a:defRPr sz="11200">
          <a:latin typeface="+mn-lt"/>
          <a:ea typeface="+mn-ea"/>
          <a:cs typeface="+mn-cs"/>
          <a:sym typeface="Helvetica Light"/>
        </a:defRPr>
      </a:lvl1pPr>
      <a:lvl2pPr indent="228600" algn="ctr" defTabSz="825500">
        <a:defRPr sz="11200">
          <a:latin typeface="+mn-lt"/>
          <a:ea typeface="+mn-ea"/>
          <a:cs typeface="+mn-cs"/>
          <a:sym typeface="Helvetica Light"/>
        </a:defRPr>
      </a:lvl2pPr>
      <a:lvl3pPr indent="457200" algn="ctr" defTabSz="825500">
        <a:defRPr sz="11200">
          <a:latin typeface="+mn-lt"/>
          <a:ea typeface="+mn-ea"/>
          <a:cs typeface="+mn-cs"/>
          <a:sym typeface="Helvetica Light"/>
        </a:defRPr>
      </a:lvl3pPr>
      <a:lvl4pPr indent="685800" algn="ctr" defTabSz="825500">
        <a:defRPr sz="11200">
          <a:latin typeface="+mn-lt"/>
          <a:ea typeface="+mn-ea"/>
          <a:cs typeface="+mn-cs"/>
          <a:sym typeface="Helvetica Light"/>
        </a:defRPr>
      </a:lvl4pPr>
      <a:lvl5pPr indent="914400" algn="ctr" defTabSz="825500">
        <a:defRPr sz="11200">
          <a:latin typeface="+mn-lt"/>
          <a:ea typeface="+mn-ea"/>
          <a:cs typeface="+mn-cs"/>
          <a:sym typeface="Helvetica Light"/>
        </a:defRPr>
      </a:lvl5pPr>
      <a:lvl6pPr indent="1143000" algn="ctr" defTabSz="825500">
        <a:defRPr sz="11200">
          <a:latin typeface="+mn-lt"/>
          <a:ea typeface="+mn-ea"/>
          <a:cs typeface="+mn-cs"/>
          <a:sym typeface="Helvetica Light"/>
        </a:defRPr>
      </a:lvl6pPr>
      <a:lvl7pPr indent="1371600" algn="ctr" defTabSz="825500">
        <a:defRPr sz="11200">
          <a:latin typeface="+mn-lt"/>
          <a:ea typeface="+mn-ea"/>
          <a:cs typeface="+mn-cs"/>
          <a:sym typeface="Helvetica Light"/>
        </a:defRPr>
      </a:lvl7pPr>
      <a:lvl8pPr indent="1600200" algn="ctr" defTabSz="825500">
        <a:defRPr sz="11200">
          <a:latin typeface="+mn-lt"/>
          <a:ea typeface="+mn-ea"/>
          <a:cs typeface="+mn-cs"/>
          <a:sym typeface="Helvetica Light"/>
        </a:defRPr>
      </a:lvl8pPr>
      <a:lvl9pPr indent="1828800" algn="ctr" defTabSz="825500">
        <a:defRPr sz="11200">
          <a:latin typeface="+mn-lt"/>
          <a:ea typeface="+mn-ea"/>
          <a:cs typeface="+mn-cs"/>
          <a:sym typeface="Helvetica Light"/>
        </a:defRPr>
      </a:lvl9pPr>
    </p:titleStyle>
    <p:bodyStyle>
      <a:lvl1pPr marL="635000" indent="-635000" defTabSz="825500">
        <a:spcBef>
          <a:spcPts val="5900"/>
        </a:spcBef>
        <a:buSzPct val="75000"/>
        <a:buChar char="•"/>
        <a:defRPr sz="5200">
          <a:latin typeface="+mn-lt"/>
          <a:ea typeface="+mn-ea"/>
          <a:cs typeface="+mn-cs"/>
          <a:sym typeface="Helvetica Light"/>
        </a:defRPr>
      </a:lvl1pPr>
      <a:lvl2pPr marL="1270000" indent="-635000" defTabSz="825500">
        <a:spcBef>
          <a:spcPts val="5900"/>
        </a:spcBef>
        <a:buSzPct val="75000"/>
        <a:buChar char="•"/>
        <a:defRPr sz="5200">
          <a:latin typeface="+mn-lt"/>
          <a:ea typeface="+mn-ea"/>
          <a:cs typeface="+mn-cs"/>
          <a:sym typeface="Helvetica Light"/>
        </a:defRPr>
      </a:lvl2pPr>
      <a:lvl3pPr marL="1905000" indent="-635000" defTabSz="825500">
        <a:spcBef>
          <a:spcPts val="5900"/>
        </a:spcBef>
        <a:buSzPct val="75000"/>
        <a:buChar char="•"/>
        <a:defRPr sz="5200">
          <a:latin typeface="+mn-lt"/>
          <a:ea typeface="+mn-ea"/>
          <a:cs typeface="+mn-cs"/>
          <a:sym typeface="Helvetica Light"/>
        </a:defRPr>
      </a:lvl3pPr>
      <a:lvl4pPr marL="2540000" indent="-635000" defTabSz="825500">
        <a:spcBef>
          <a:spcPts val="5900"/>
        </a:spcBef>
        <a:buSzPct val="75000"/>
        <a:buChar char="•"/>
        <a:defRPr sz="5200">
          <a:latin typeface="+mn-lt"/>
          <a:ea typeface="+mn-ea"/>
          <a:cs typeface="+mn-cs"/>
          <a:sym typeface="Helvetica Light"/>
        </a:defRPr>
      </a:lvl4pPr>
      <a:lvl5pPr marL="3175000" indent="-635000" defTabSz="825500">
        <a:spcBef>
          <a:spcPts val="5900"/>
        </a:spcBef>
        <a:buSzPct val="75000"/>
        <a:buChar char="•"/>
        <a:defRPr sz="5200">
          <a:latin typeface="+mn-lt"/>
          <a:ea typeface="+mn-ea"/>
          <a:cs typeface="+mn-cs"/>
          <a:sym typeface="Helvetica Light"/>
        </a:defRPr>
      </a:lvl5pPr>
      <a:lvl6pPr marL="3810000" indent="-635000" defTabSz="825500">
        <a:spcBef>
          <a:spcPts val="5900"/>
        </a:spcBef>
        <a:buSzPct val="75000"/>
        <a:buChar char="•"/>
        <a:defRPr sz="5200">
          <a:latin typeface="+mn-lt"/>
          <a:ea typeface="+mn-ea"/>
          <a:cs typeface="+mn-cs"/>
          <a:sym typeface="Helvetica Light"/>
        </a:defRPr>
      </a:lvl6pPr>
      <a:lvl7pPr marL="4445000" indent="-635000" defTabSz="825500">
        <a:spcBef>
          <a:spcPts val="5900"/>
        </a:spcBef>
        <a:buSzPct val="75000"/>
        <a:buChar char="•"/>
        <a:defRPr sz="5200">
          <a:latin typeface="+mn-lt"/>
          <a:ea typeface="+mn-ea"/>
          <a:cs typeface="+mn-cs"/>
          <a:sym typeface="Helvetica Light"/>
        </a:defRPr>
      </a:lvl7pPr>
      <a:lvl8pPr marL="5080000" indent="-635000" defTabSz="825500">
        <a:spcBef>
          <a:spcPts val="5900"/>
        </a:spcBef>
        <a:buSzPct val="75000"/>
        <a:buChar char="•"/>
        <a:defRPr sz="5200">
          <a:latin typeface="+mn-lt"/>
          <a:ea typeface="+mn-ea"/>
          <a:cs typeface="+mn-cs"/>
          <a:sym typeface="Helvetica Light"/>
        </a:defRPr>
      </a:lvl8pPr>
      <a:lvl9pPr marL="5715000" indent="-635000" defTabSz="825500">
        <a:spcBef>
          <a:spcPts val="5900"/>
        </a:spcBef>
        <a:buSzPct val="75000"/>
        <a:buChar char="•"/>
        <a:defRPr sz="5200">
          <a:latin typeface="+mn-lt"/>
          <a:ea typeface="+mn-ea"/>
          <a:cs typeface="+mn-cs"/>
          <a:sym typeface="Helvetica Light"/>
        </a:defRPr>
      </a:lvl9pPr>
    </p:bodyStyle>
    <p:otherStyle>
      <a:lvl1pPr algn="ctr" defTabSz="825500">
        <a:defRPr sz="2400">
          <a:solidFill>
            <a:schemeClr val="tx1"/>
          </a:solidFill>
          <a:latin typeface="+mn-lt"/>
          <a:ea typeface="+mn-ea"/>
          <a:cs typeface="+mn-cs"/>
          <a:sym typeface="Helvetica Light"/>
        </a:defRPr>
      </a:lvl1pPr>
      <a:lvl2pPr indent="228600" algn="ctr" defTabSz="825500">
        <a:defRPr sz="2400">
          <a:solidFill>
            <a:schemeClr val="tx1"/>
          </a:solidFill>
          <a:latin typeface="+mn-lt"/>
          <a:ea typeface="+mn-ea"/>
          <a:cs typeface="+mn-cs"/>
          <a:sym typeface="Helvetica Light"/>
        </a:defRPr>
      </a:lvl2pPr>
      <a:lvl3pPr indent="457200" algn="ctr" defTabSz="825500">
        <a:defRPr sz="2400">
          <a:solidFill>
            <a:schemeClr val="tx1"/>
          </a:solidFill>
          <a:latin typeface="+mn-lt"/>
          <a:ea typeface="+mn-ea"/>
          <a:cs typeface="+mn-cs"/>
          <a:sym typeface="Helvetica Light"/>
        </a:defRPr>
      </a:lvl3pPr>
      <a:lvl4pPr indent="685800" algn="ctr" defTabSz="825500">
        <a:defRPr sz="2400">
          <a:solidFill>
            <a:schemeClr val="tx1"/>
          </a:solidFill>
          <a:latin typeface="+mn-lt"/>
          <a:ea typeface="+mn-ea"/>
          <a:cs typeface="+mn-cs"/>
          <a:sym typeface="Helvetica Light"/>
        </a:defRPr>
      </a:lvl4pPr>
      <a:lvl5pPr indent="914400" algn="ctr" defTabSz="825500">
        <a:defRPr sz="2400">
          <a:solidFill>
            <a:schemeClr val="tx1"/>
          </a:solidFill>
          <a:latin typeface="+mn-lt"/>
          <a:ea typeface="+mn-ea"/>
          <a:cs typeface="+mn-cs"/>
          <a:sym typeface="Helvetica Light"/>
        </a:defRPr>
      </a:lvl5pPr>
      <a:lvl6pPr indent="1143000" algn="ctr" defTabSz="825500">
        <a:defRPr sz="2400">
          <a:solidFill>
            <a:schemeClr val="tx1"/>
          </a:solidFill>
          <a:latin typeface="+mn-lt"/>
          <a:ea typeface="+mn-ea"/>
          <a:cs typeface="+mn-cs"/>
          <a:sym typeface="Helvetica Light"/>
        </a:defRPr>
      </a:lvl6pPr>
      <a:lvl7pPr indent="1371600" algn="ctr" defTabSz="825500">
        <a:defRPr sz="2400">
          <a:solidFill>
            <a:schemeClr val="tx1"/>
          </a:solidFill>
          <a:latin typeface="+mn-lt"/>
          <a:ea typeface="+mn-ea"/>
          <a:cs typeface="+mn-cs"/>
          <a:sym typeface="Helvetica Light"/>
        </a:defRPr>
      </a:lvl7pPr>
      <a:lvl8pPr indent="1600200" algn="ctr" defTabSz="825500">
        <a:defRPr sz="2400">
          <a:solidFill>
            <a:schemeClr val="tx1"/>
          </a:solidFill>
          <a:latin typeface="+mn-lt"/>
          <a:ea typeface="+mn-ea"/>
          <a:cs typeface="+mn-cs"/>
          <a:sym typeface="Helvetica Light"/>
        </a:defRPr>
      </a:lvl8pPr>
      <a:lvl9pPr indent="1828800" algn="ctr" defTabSz="825500">
        <a:defRPr sz="2400">
          <a:solidFill>
            <a:schemeClr val="tx1"/>
          </a:solidFill>
          <a:latin typeface="+mn-lt"/>
          <a:ea typeface="+mn-ea"/>
          <a:cs typeface="+mn-cs"/>
          <a:sym typeface="Helvetica Light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2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038497" y="457229"/>
            <a:ext cx="22303834" cy="12187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38498" y="2895606"/>
            <a:ext cx="22303832" cy="400109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33795051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  <p:sldLayoutId id="2147483667" r:id="rId5"/>
    <p:sldLayoutId id="2147483668" r:id="rId6"/>
    <p:sldLayoutId id="2147483669" r:id="rId7"/>
    <p:sldLayoutId id="2147483670" r:id="rId8"/>
    <p:sldLayoutId id="2147483671" r:id="rId9"/>
    <p:sldLayoutId id="2147483672" r:id="rId10"/>
    <p:sldLayoutId id="2147483673" r:id="rId11"/>
    <p:sldLayoutId id="2147483674" r:id="rId12"/>
    <p:sldLayoutId id="2147483675" r:id="rId13"/>
    <p:sldLayoutId id="2147483676" r:id="rId14"/>
    <p:sldLayoutId id="2147483677" r:id="rId15"/>
    <p:sldLayoutId id="2147483678" r:id="rId16"/>
    <p:sldLayoutId id="2147483679" r:id="rId17"/>
    <p:sldLayoutId id="2147483680" r:id="rId18"/>
    <p:sldLayoutId id="2147483681" r:id="rId19"/>
    <p:sldLayoutId id="2147483682" r:id="rId20"/>
    <p:sldLayoutId id="2147483683" r:id="rId21"/>
    <p:sldLayoutId id="2147483684" r:id="rId22"/>
  </p:sldLayoutIdLst>
  <p:transition>
    <p:fade/>
  </p:transition>
  <p:txStyles>
    <p:titleStyle>
      <a:lvl1pPr algn="l" defTabSz="1827920" rtl="0" eaLnBrk="1" latinLnBrk="0" hangingPunct="1">
        <a:lnSpc>
          <a:spcPct val="90000"/>
        </a:lnSpc>
        <a:spcBef>
          <a:spcPct val="0"/>
        </a:spcBef>
        <a:buNone/>
        <a:defRPr lang="en-US" sz="8800" b="0" kern="1200" cap="none" spc="-200" baseline="0" dirty="0" smtClean="0">
          <a:ln w="3175">
            <a:noFill/>
          </a:ln>
          <a:gradFill flip="none" rotWithShape="1">
            <a:gsLst>
              <a:gs pos="0">
                <a:schemeClr val="tx1"/>
              </a:gs>
              <a:gs pos="86000">
                <a:schemeClr val="tx1"/>
              </a:gs>
            </a:gsLst>
            <a:lin ang="5400000" scaled="0"/>
            <a:tileRect/>
          </a:gradFill>
          <a:effectLst/>
          <a:latin typeface="+mj-lt"/>
          <a:ea typeface="+mn-ea"/>
          <a:cs typeface="Arial" charset="0"/>
        </a:defRPr>
      </a:lvl1pPr>
    </p:titleStyle>
    <p:bodyStyle>
      <a:lvl1pPr marL="920328" indent="-920328" algn="l" defTabSz="1827920" rtl="0" eaLnBrk="1" latinLnBrk="0" hangingPunct="1">
        <a:lnSpc>
          <a:spcPct val="90000"/>
        </a:lnSpc>
        <a:spcBef>
          <a:spcPct val="20000"/>
        </a:spcBef>
        <a:buSzPct val="90000"/>
        <a:buFontTx/>
        <a:buBlip>
          <a:blip r:embed="rId25"/>
        </a:buBlip>
        <a:defRPr sz="6400" kern="1200">
          <a:gradFill>
            <a:gsLst>
              <a:gs pos="0">
                <a:schemeClr val="tx1"/>
              </a:gs>
              <a:gs pos="86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1pPr>
      <a:lvl2pPr marL="1710562" indent="-790236" algn="l" defTabSz="1827920" rtl="0" eaLnBrk="1" latinLnBrk="0" hangingPunct="1">
        <a:lnSpc>
          <a:spcPct val="90000"/>
        </a:lnSpc>
        <a:spcBef>
          <a:spcPct val="20000"/>
        </a:spcBef>
        <a:buSzPct val="90000"/>
        <a:buFontTx/>
        <a:buBlip>
          <a:blip r:embed="rId25"/>
        </a:buBlip>
        <a:defRPr sz="5600" kern="1200">
          <a:gradFill>
            <a:gsLst>
              <a:gs pos="0">
                <a:schemeClr val="tx1"/>
              </a:gs>
              <a:gs pos="86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2516674" indent="-806110" algn="l" defTabSz="1827920" rtl="0" eaLnBrk="1" latinLnBrk="0" hangingPunct="1">
        <a:lnSpc>
          <a:spcPct val="90000"/>
        </a:lnSpc>
        <a:spcBef>
          <a:spcPct val="20000"/>
        </a:spcBef>
        <a:buSzPct val="90000"/>
        <a:buFontTx/>
        <a:buBlip>
          <a:blip r:embed="rId25"/>
        </a:buBlip>
        <a:defRPr sz="4800" kern="1200">
          <a:gradFill>
            <a:gsLst>
              <a:gs pos="0">
                <a:schemeClr val="tx1"/>
              </a:gs>
              <a:gs pos="86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3208510" indent="-691838" algn="l" defTabSz="1827920" rtl="0" eaLnBrk="1" latinLnBrk="0" hangingPunct="1">
        <a:lnSpc>
          <a:spcPct val="90000"/>
        </a:lnSpc>
        <a:spcBef>
          <a:spcPct val="20000"/>
        </a:spcBef>
        <a:buSzPct val="90000"/>
        <a:buFontTx/>
        <a:buBlip>
          <a:blip r:embed="rId25"/>
        </a:buBlip>
        <a:defRPr sz="4000" kern="1200">
          <a:gradFill>
            <a:gsLst>
              <a:gs pos="0">
                <a:schemeClr val="tx1"/>
              </a:gs>
              <a:gs pos="86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3881330" indent="-672804" algn="l" defTabSz="1827920" rtl="0" eaLnBrk="1" latinLnBrk="0" hangingPunct="1">
        <a:lnSpc>
          <a:spcPct val="90000"/>
        </a:lnSpc>
        <a:spcBef>
          <a:spcPct val="20000"/>
        </a:spcBef>
        <a:buSzPct val="90000"/>
        <a:buFontTx/>
        <a:buBlip>
          <a:blip r:embed="rId25"/>
        </a:buBlip>
        <a:defRPr sz="4000" kern="1200">
          <a:gradFill>
            <a:gsLst>
              <a:gs pos="0">
                <a:schemeClr val="tx1"/>
              </a:gs>
              <a:gs pos="86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5026792" indent="-456984" algn="l" defTabSz="1827920" rtl="0" eaLnBrk="1" latinLnBrk="0" hangingPunct="1">
        <a:spcBef>
          <a:spcPct val="20000"/>
        </a:spcBef>
        <a:buFont typeface="Arial" pitchFamily="34" charset="0"/>
        <a:buChar char="•"/>
        <a:defRPr sz="4000" kern="1200">
          <a:solidFill>
            <a:schemeClr val="tx1"/>
          </a:solidFill>
          <a:latin typeface="+mn-lt"/>
          <a:ea typeface="+mn-ea"/>
          <a:cs typeface="+mn-cs"/>
        </a:defRPr>
      </a:lvl6pPr>
      <a:lvl7pPr marL="5940734" indent="-456984" algn="l" defTabSz="1827920" rtl="0" eaLnBrk="1" latinLnBrk="0" hangingPunct="1">
        <a:spcBef>
          <a:spcPct val="20000"/>
        </a:spcBef>
        <a:buFont typeface="Arial" pitchFamily="34" charset="0"/>
        <a:buChar char="•"/>
        <a:defRPr sz="4000" kern="1200">
          <a:solidFill>
            <a:schemeClr val="tx1"/>
          </a:solidFill>
          <a:latin typeface="+mn-lt"/>
          <a:ea typeface="+mn-ea"/>
          <a:cs typeface="+mn-cs"/>
        </a:defRPr>
      </a:lvl7pPr>
      <a:lvl8pPr marL="6854698" indent="-456984" algn="l" defTabSz="1827920" rtl="0" eaLnBrk="1" latinLnBrk="0" hangingPunct="1">
        <a:spcBef>
          <a:spcPct val="20000"/>
        </a:spcBef>
        <a:buFont typeface="Arial" pitchFamily="34" charset="0"/>
        <a:buChar char="•"/>
        <a:defRPr sz="4000" kern="1200">
          <a:solidFill>
            <a:schemeClr val="tx1"/>
          </a:solidFill>
          <a:latin typeface="+mn-lt"/>
          <a:ea typeface="+mn-ea"/>
          <a:cs typeface="+mn-cs"/>
        </a:defRPr>
      </a:lvl8pPr>
      <a:lvl9pPr marL="7768656" indent="-456984" algn="l" defTabSz="1827920" rtl="0" eaLnBrk="1" latinLnBrk="0" hangingPunct="1">
        <a:spcBef>
          <a:spcPct val="20000"/>
        </a:spcBef>
        <a:buFont typeface="Arial" pitchFamily="34" charset="0"/>
        <a:buChar char="•"/>
        <a:defRPr sz="4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827920" rtl="0" eaLnBrk="1" latinLnBrk="0" hangingPunct="1">
        <a:defRPr sz="3734" kern="1200">
          <a:solidFill>
            <a:schemeClr val="tx1"/>
          </a:solidFill>
          <a:latin typeface="+mn-lt"/>
          <a:ea typeface="+mn-ea"/>
          <a:cs typeface="+mn-cs"/>
        </a:defRPr>
      </a:lvl1pPr>
      <a:lvl2pPr marL="913948" algn="l" defTabSz="1827920" rtl="0" eaLnBrk="1" latinLnBrk="0" hangingPunct="1">
        <a:defRPr sz="3734" kern="1200">
          <a:solidFill>
            <a:schemeClr val="tx1"/>
          </a:solidFill>
          <a:latin typeface="+mn-lt"/>
          <a:ea typeface="+mn-ea"/>
          <a:cs typeface="+mn-cs"/>
        </a:defRPr>
      </a:lvl2pPr>
      <a:lvl3pPr marL="1827920" algn="l" defTabSz="1827920" rtl="0" eaLnBrk="1" latinLnBrk="0" hangingPunct="1">
        <a:defRPr sz="3734" kern="1200">
          <a:solidFill>
            <a:schemeClr val="tx1"/>
          </a:solidFill>
          <a:latin typeface="+mn-lt"/>
          <a:ea typeface="+mn-ea"/>
          <a:cs typeface="+mn-cs"/>
        </a:defRPr>
      </a:lvl3pPr>
      <a:lvl4pPr marL="2741876" algn="l" defTabSz="1827920" rtl="0" eaLnBrk="1" latinLnBrk="0" hangingPunct="1">
        <a:defRPr sz="3734" kern="1200">
          <a:solidFill>
            <a:schemeClr val="tx1"/>
          </a:solidFill>
          <a:latin typeface="+mn-lt"/>
          <a:ea typeface="+mn-ea"/>
          <a:cs typeface="+mn-cs"/>
        </a:defRPr>
      </a:lvl4pPr>
      <a:lvl5pPr marL="3655842" algn="l" defTabSz="1827920" rtl="0" eaLnBrk="1" latinLnBrk="0" hangingPunct="1">
        <a:defRPr sz="3734" kern="1200">
          <a:solidFill>
            <a:schemeClr val="tx1"/>
          </a:solidFill>
          <a:latin typeface="+mn-lt"/>
          <a:ea typeface="+mn-ea"/>
          <a:cs typeface="+mn-cs"/>
        </a:defRPr>
      </a:lvl5pPr>
      <a:lvl6pPr marL="4569784" algn="l" defTabSz="1827920" rtl="0" eaLnBrk="1" latinLnBrk="0" hangingPunct="1">
        <a:defRPr sz="3734" kern="1200">
          <a:solidFill>
            <a:schemeClr val="tx1"/>
          </a:solidFill>
          <a:latin typeface="+mn-lt"/>
          <a:ea typeface="+mn-ea"/>
          <a:cs typeface="+mn-cs"/>
        </a:defRPr>
      </a:lvl6pPr>
      <a:lvl7pPr marL="5483754" algn="l" defTabSz="1827920" rtl="0" eaLnBrk="1" latinLnBrk="0" hangingPunct="1">
        <a:defRPr sz="3734" kern="1200">
          <a:solidFill>
            <a:schemeClr val="tx1"/>
          </a:solidFill>
          <a:latin typeface="+mn-lt"/>
          <a:ea typeface="+mn-ea"/>
          <a:cs typeface="+mn-cs"/>
        </a:defRPr>
      </a:lvl7pPr>
      <a:lvl8pPr marL="6397718" algn="l" defTabSz="1827920" rtl="0" eaLnBrk="1" latinLnBrk="0" hangingPunct="1">
        <a:defRPr sz="3734" kern="1200">
          <a:solidFill>
            <a:schemeClr val="tx1"/>
          </a:solidFill>
          <a:latin typeface="+mn-lt"/>
          <a:ea typeface="+mn-ea"/>
          <a:cs typeface="+mn-cs"/>
        </a:defRPr>
      </a:lvl8pPr>
      <a:lvl9pPr marL="7311686" algn="l" defTabSz="1827920" rtl="0" eaLnBrk="1" latinLnBrk="0" hangingPunct="1">
        <a:defRPr sz="373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图片 12"/>
          <p:cNvPicPr>
            <a:picLocks noChangeAspect="1"/>
          </p:cNvPicPr>
          <p:nvPr/>
        </p:nvPicPr>
        <p:blipFill rotWithShape="1">
          <a:blip r:embed="rId3"/>
          <a:srcRect t="5959" r="2847" b="34446"/>
          <a:stretch/>
        </p:blipFill>
        <p:spPr bwMode="auto">
          <a:xfrm>
            <a:off x="0" y="-27991"/>
            <a:ext cx="24391938" cy="13716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9" name="文本框 18"/>
          <p:cNvSpPr txBox="1"/>
          <p:nvPr/>
        </p:nvSpPr>
        <p:spPr>
          <a:xfrm>
            <a:off x="11743530" y="4388251"/>
            <a:ext cx="10558532" cy="186204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 defTabSz="914400" rtl="0"/>
            <a:r>
              <a:rPr lang="en-US" altLang="zh-CN" sz="11500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Bebas" pitchFamily="2" charset="0"/>
                <a:ea typeface="微软雅黑" panose="020B0503020204020204" pitchFamily="34" charset="-122"/>
              </a:rPr>
              <a:t>DAM</a:t>
            </a:r>
            <a:r>
              <a:rPr lang="zh-CN" altLang="en-US" sz="11500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Bebas" pitchFamily="2" charset="0"/>
                <a:ea typeface="微软雅黑" panose="020B0503020204020204" pitchFamily="34" charset="-122"/>
              </a:rPr>
              <a:t>的对外接口</a:t>
            </a:r>
          </a:p>
        </p:txBody>
      </p:sp>
      <p:sp>
        <p:nvSpPr>
          <p:cNvPr id="20" name="矩形 19"/>
          <p:cNvSpPr/>
          <p:nvPr/>
        </p:nvSpPr>
        <p:spPr>
          <a:xfrm>
            <a:off x="12834745" y="6476066"/>
            <a:ext cx="9467317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400" rtl="0"/>
            <a:r>
              <a:rPr lang="en-US" altLang="zh-CN" sz="4000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016</a:t>
            </a:r>
            <a:r>
              <a:rPr lang="zh-CN" altLang="en-US" sz="4000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年</a:t>
            </a:r>
            <a:r>
              <a:rPr lang="en-US" altLang="zh-CN" sz="4000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9</a:t>
            </a:r>
            <a:r>
              <a:rPr lang="zh-CN" altLang="en-US" sz="4000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月</a:t>
            </a:r>
            <a:r>
              <a:rPr lang="en-US" altLang="zh-CN" sz="4000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5</a:t>
            </a:r>
            <a:r>
              <a:rPr lang="zh-CN" altLang="en-US" sz="4000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日</a:t>
            </a:r>
            <a:r>
              <a:rPr lang="en-US" altLang="zh-CN" sz="4000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: 圆角 1"/>
          <p:cNvSpPr/>
          <p:nvPr/>
        </p:nvSpPr>
        <p:spPr>
          <a:xfrm>
            <a:off x="3800475" y="9159876"/>
            <a:ext cx="3914775" cy="1685925"/>
          </a:xfrm>
          <a:prstGeom prst="roundRect">
            <a:avLst>
              <a:gd name="adj" fmla="val 1150"/>
            </a:avLst>
          </a:prstGeom>
          <a:solidFill>
            <a:srgbClr val="327E99"/>
          </a:solidFill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zh-CN" altLang="en-US" sz="3200" dirty="0">
                <a:solidFill>
                  <a:srgbClr val="FFFFFF"/>
                </a:solidFill>
              </a:rPr>
              <a:t>用户管理</a:t>
            </a:r>
            <a:endParaRPr kumimoji="0" lang="zh-CN" altLang="en-US" sz="32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3" name="矩形: 圆角 2"/>
          <p:cNvSpPr/>
          <p:nvPr/>
        </p:nvSpPr>
        <p:spPr>
          <a:xfrm>
            <a:off x="16872742" y="9159876"/>
            <a:ext cx="3914775" cy="1685925"/>
          </a:xfrm>
          <a:prstGeom prst="roundRect">
            <a:avLst>
              <a:gd name="adj" fmla="val 1150"/>
            </a:avLst>
          </a:prstGeom>
          <a:solidFill>
            <a:srgbClr val="327E99"/>
          </a:solidFill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zh-CN" altLang="en-US" sz="3200" dirty="0">
                <a:solidFill>
                  <a:srgbClr val="FFFFFF"/>
                </a:solidFill>
              </a:rPr>
              <a:t>目录管理</a:t>
            </a:r>
            <a:endParaRPr kumimoji="0" lang="zh-CN" altLang="en-US" sz="32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4" name="矩形: 圆角 3"/>
          <p:cNvSpPr/>
          <p:nvPr/>
        </p:nvSpPr>
        <p:spPr>
          <a:xfrm>
            <a:off x="12452349" y="9159876"/>
            <a:ext cx="3914775" cy="1685925"/>
          </a:xfrm>
          <a:prstGeom prst="roundRect">
            <a:avLst>
              <a:gd name="adj" fmla="val 1150"/>
            </a:avLst>
          </a:prstGeom>
          <a:solidFill>
            <a:srgbClr val="327E99"/>
          </a:solidFill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zh-CN" altLang="en-US" sz="32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rPr>
              <a:t>资源库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8150224" y="9159877"/>
            <a:ext cx="3914775" cy="1685925"/>
          </a:xfrm>
          <a:prstGeom prst="roundRect">
            <a:avLst>
              <a:gd name="adj" fmla="val 1150"/>
            </a:avLst>
          </a:prstGeom>
          <a:solidFill>
            <a:srgbClr val="327E99"/>
          </a:solidFill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zh-CN" altLang="en-US" sz="3200" dirty="0">
                <a:solidFill>
                  <a:srgbClr val="FFFFFF"/>
                </a:solidFill>
              </a:rPr>
              <a:t>搜索</a:t>
            </a:r>
            <a:endParaRPr kumimoji="0" lang="zh-CN" altLang="en-US" sz="32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6" name="矩形: 圆角 5"/>
          <p:cNvSpPr/>
          <p:nvPr/>
        </p:nvSpPr>
        <p:spPr>
          <a:xfrm>
            <a:off x="15575754" y="5368926"/>
            <a:ext cx="5117307" cy="1685925"/>
          </a:xfrm>
          <a:prstGeom prst="roundRect">
            <a:avLst>
              <a:gd name="adj" fmla="val 1150"/>
            </a:avLst>
          </a:prstGeom>
          <a:solidFill>
            <a:srgbClr val="2BA187"/>
          </a:solidFill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zh-CN" altLang="en-US" sz="32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rPr>
              <a:t>内容发布</a:t>
            </a:r>
            <a:r>
              <a:rPr kumimoji="0" lang="en-US" altLang="zh-CN" sz="32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rPr>
              <a:t>/</a:t>
            </a:r>
            <a:r>
              <a:rPr kumimoji="0" lang="zh-CN" altLang="en-US" sz="32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rPr>
              <a:t>内容分发</a:t>
            </a:r>
          </a:p>
        </p:txBody>
      </p:sp>
      <p:sp>
        <p:nvSpPr>
          <p:cNvPr id="8" name="箭头: 上下 7"/>
          <p:cNvSpPr/>
          <p:nvPr/>
        </p:nvSpPr>
        <p:spPr>
          <a:xfrm>
            <a:off x="18487229" y="7308850"/>
            <a:ext cx="685800" cy="1597026"/>
          </a:xfrm>
          <a:prstGeom prst="upDownArrow">
            <a:avLst/>
          </a:prstGeom>
          <a:solidFill>
            <a:srgbClr val="F39D3D"/>
          </a:solidFill>
          <a:ln w="12700" cap="flat">
            <a:noFill/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9" name="文本框 8"/>
          <p:cNvSpPr txBox="1"/>
          <p:nvPr/>
        </p:nvSpPr>
        <p:spPr>
          <a:xfrm>
            <a:off x="15201901" y="7625179"/>
            <a:ext cx="3482178" cy="964367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zh-CN" altLang="en-US" sz="28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dobe 仿宋 Std R" panose="02020400000000000000" pitchFamily="18" charset="-122"/>
                <a:ea typeface="Adobe 仿宋 Std R" panose="02020400000000000000" pitchFamily="18" charset="-122"/>
                <a:sym typeface="Helvetica Light"/>
              </a:rPr>
              <a:t>频道</a:t>
            </a:r>
            <a:r>
              <a:rPr lang="zh-CN" altLang="en-US" sz="2800" dirty="0">
                <a:solidFill>
                  <a:srgbClr val="000000"/>
                </a:solidFill>
                <a:latin typeface="Adobe 仿宋 Std R" panose="02020400000000000000" pitchFamily="18" charset="-122"/>
                <a:ea typeface="Adobe 仿宋 Std R" panose="02020400000000000000" pitchFamily="18" charset="-122"/>
              </a:rPr>
              <a:t>、专题、权限</a:t>
            </a:r>
            <a:endParaRPr lang="en-US" altLang="zh-CN" sz="2800" dirty="0">
              <a:solidFill>
                <a:srgbClr val="000000"/>
              </a:solidFill>
              <a:latin typeface="Adobe 仿宋 Std R" panose="02020400000000000000" pitchFamily="18" charset="-122"/>
              <a:ea typeface="Adobe 仿宋 Std R" panose="02020400000000000000" pitchFamily="18" charset="-122"/>
            </a:endParaRPr>
          </a:p>
          <a:p>
            <a:pPr marL="0" marR="0" indent="0" algn="ctr" defTabSz="8255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zh-CN" altLang="en-US" sz="28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dobe 仿宋 Std R" panose="02020400000000000000" pitchFamily="18" charset="-122"/>
                <a:ea typeface="Adobe 仿宋 Std R" panose="02020400000000000000" pitchFamily="18" charset="-122"/>
                <a:sym typeface="Helvetica Light"/>
              </a:rPr>
              <a:t>对应目录，目录内容</a:t>
            </a:r>
            <a:endParaRPr kumimoji="0" lang="en-US" altLang="zh-CN" sz="2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dobe 仿宋 Std R" panose="02020400000000000000" pitchFamily="18" charset="-122"/>
              <a:ea typeface="Adobe 仿宋 Std R" panose="02020400000000000000" pitchFamily="18" charset="-122"/>
              <a:sym typeface="Helvetica Light"/>
            </a:endParaRPr>
          </a:p>
        </p:txBody>
      </p:sp>
      <p:sp>
        <p:nvSpPr>
          <p:cNvPr id="11" name="文本框 10"/>
          <p:cNvSpPr txBox="1"/>
          <p:nvPr/>
        </p:nvSpPr>
        <p:spPr>
          <a:xfrm>
            <a:off x="11428412" y="6389329"/>
            <a:ext cx="3108323" cy="964367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zh-CN" altLang="en-US" sz="28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dobe 仿宋 Std R" panose="02020400000000000000" pitchFamily="18" charset="-122"/>
                <a:ea typeface="Adobe 仿宋 Std R" panose="02020400000000000000" pitchFamily="18" charset="-122"/>
                <a:sym typeface="Helvetica Light"/>
              </a:rPr>
              <a:t>图片预览链接</a:t>
            </a:r>
            <a:endParaRPr kumimoji="0" lang="en-US" altLang="zh-CN" sz="2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dobe 仿宋 Std R" panose="02020400000000000000" pitchFamily="18" charset="-122"/>
              <a:ea typeface="Adobe 仿宋 Std R" panose="02020400000000000000" pitchFamily="18" charset="-122"/>
              <a:sym typeface="Helvetica Light"/>
            </a:endParaRPr>
          </a:p>
          <a:p>
            <a:pPr marL="0" marR="0" indent="0" algn="ctr" defTabSz="8255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zh-CN" altLang="en-US" sz="28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dobe 仿宋 Std R" panose="02020400000000000000" pitchFamily="18" charset="-122"/>
                <a:ea typeface="Adobe 仿宋 Std R" panose="02020400000000000000" pitchFamily="18" charset="-122"/>
                <a:sym typeface="Helvetica Light"/>
              </a:rPr>
              <a:t>下载链接</a:t>
            </a:r>
            <a:endParaRPr kumimoji="0" lang="en-US" altLang="zh-CN" sz="2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dobe 仿宋 Std R" panose="02020400000000000000" pitchFamily="18" charset="-122"/>
              <a:ea typeface="Adobe 仿宋 Std R" panose="02020400000000000000" pitchFamily="18" charset="-122"/>
              <a:sym typeface="Helvetica Light"/>
            </a:endParaRPr>
          </a:p>
        </p:txBody>
      </p:sp>
      <p:sp>
        <p:nvSpPr>
          <p:cNvPr id="12" name="箭头: 上下 11"/>
          <p:cNvSpPr/>
          <p:nvPr/>
        </p:nvSpPr>
        <p:spPr>
          <a:xfrm>
            <a:off x="9764711" y="4800600"/>
            <a:ext cx="576260" cy="4105276"/>
          </a:xfrm>
          <a:prstGeom prst="upDownArrow">
            <a:avLst/>
          </a:prstGeom>
          <a:solidFill>
            <a:srgbClr val="F39D3D"/>
          </a:solidFill>
          <a:ln w="12700" cap="flat">
            <a:noFill/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13" name="文本框 12"/>
          <p:cNvSpPr txBox="1"/>
          <p:nvPr/>
        </p:nvSpPr>
        <p:spPr>
          <a:xfrm>
            <a:off x="7273134" y="6521372"/>
            <a:ext cx="3108323" cy="533479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zh-CN" altLang="en-US" sz="28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dobe 仿宋 Std R" panose="02020400000000000000" pitchFamily="18" charset="-122"/>
                <a:ea typeface="Adobe 仿宋 Std R" panose="02020400000000000000" pitchFamily="18" charset="-122"/>
                <a:sym typeface="Helvetica Light"/>
              </a:rPr>
              <a:t>搜索</a:t>
            </a:r>
            <a:r>
              <a:rPr kumimoji="0" lang="en-US" altLang="zh-CN" sz="28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dobe 仿宋 Std R" panose="02020400000000000000" pitchFamily="18" charset="-122"/>
                <a:ea typeface="Adobe 仿宋 Std R" panose="02020400000000000000" pitchFamily="18" charset="-122"/>
                <a:sym typeface="Helvetica Light"/>
              </a:rPr>
              <a:t>API</a:t>
            </a:r>
          </a:p>
        </p:txBody>
      </p:sp>
      <p:sp>
        <p:nvSpPr>
          <p:cNvPr id="14" name="矩形: 圆角 13"/>
          <p:cNvSpPr/>
          <p:nvPr/>
        </p:nvSpPr>
        <p:spPr>
          <a:xfrm>
            <a:off x="3800475" y="2897225"/>
            <a:ext cx="16892586" cy="1685925"/>
          </a:xfrm>
          <a:prstGeom prst="roundRect">
            <a:avLst>
              <a:gd name="adj" fmla="val 1150"/>
            </a:avLst>
          </a:prstGeom>
          <a:solidFill>
            <a:srgbClr val="2BA187"/>
          </a:solidFill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zh-CN" altLang="en-US" sz="32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rPr>
              <a:t>网站</a:t>
            </a:r>
          </a:p>
        </p:txBody>
      </p:sp>
      <p:sp>
        <p:nvSpPr>
          <p:cNvPr id="16" name="箭头: 上下 15"/>
          <p:cNvSpPr/>
          <p:nvPr/>
        </p:nvSpPr>
        <p:spPr>
          <a:xfrm>
            <a:off x="17791507" y="4050524"/>
            <a:ext cx="685800" cy="1597026"/>
          </a:xfrm>
          <a:prstGeom prst="upDownArrow">
            <a:avLst/>
          </a:prstGeom>
          <a:solidFill>
            <a:srgbClr val="F39D3D"/>
          </a:solidFill>
          <a:ln w="12700" cap="flat">
            <a:noFill/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17" name="箭头: 上下 16"/>
          <p:cNvSpPr/>
          <p:nvPr/>
        </p:nvSpPr>
        <p:spPr>
          <a:xfrm>
            <a:off x="14126765" y="4818874"/>
            <a:ext cx="576260" cy="4105276"/>
          </a:xfrm>
          <a:prstGeom prst="upDownArrow">
            <a:avLst/>
          </a:prstGeom>
          <a:solidFill>
            <a:srgbClr val="F39D3D"/>
          </a:solidFill>
          <a:ln w="12700" cap="flat">
            <a:noFill/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18" name="箭头: 上下 17"/>
          <p:cNvSpPr/>
          <p:nvPr/>
        </p:nvSpPr>
        <p:spPr>
          <a:xfrm>
            <a:off x="5469732" y="4849037"/>
            <a:ext cx="576260" cy="4105276"/>
          </a:xfrm>
          <a:prstGeom prst="upDownArrow">
            <a:avLst/>
          </a:prstGeom>
          <a:solidFill>
            <a:srgbClr val="F39D3D"/>
          </a:solidFill>
          <a:ln w="12700" cap="flat">
            <a:noFill/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19" name="文本框 18"/>
          <p:cNvSpPr txBox="1"/>
          <p:nvPr/>
        </p:nvSpPr>
        <p:spPr>
          <a:xfrm>
            <a:off x="2230436" y="6521372"/>
            <a:ext cx="3108323" cy="533479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zh-CN" altLang="en-US" sz="2800" dirty="0">
                <a:solidFill>
                  <a:srgbClr val="000000"/>
                </a:solidFill>
                <a:latin typeface="Adobe 仿宋 Std R" panose="02020400000000000000" pitchFamily="18" charset="-122"/>
                <a:ea typeface="Adobe 仿宋 Std R" panose="02020400000000000000" pitchFamily="18" charset="-122"/>
              </a:rPr>
              <a:t>注册，登陆鉴权</a:t>
            </a:r>
            <a:endParaRPr kumimoji="0" lang="en-US" altLang="zh-CN" sz="2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dobe 仿宋 Std R" panose="02020400000000000000" pitchFamily="18" charset="-122"/>
              <a:ea typeface="Adobe 仿宋 Std R" panose="02020400000000000000" pitchFamily="18" charset="-122"/>
              <a:sym typeface="Helvetica Light"/>
            </a:endParaRPr>
          </a:p>
        </p:txBody>
      </p:sp>
      <p:sp>
        <p:nvSpPr>
          <p:cNvPr id="20" name="Shape 73"/>
          <p:cNvSpPr txBox="1">
            <a:spLocks/>
          </p:cNvSpPr>
          <p:nvPr/>
        </p:nvSpPr>
        <p:spPr>
          <a:xfrm>
            <a:off x="369192" y="543910"/>
            <a:ext cx="16383723" cy="186363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91438" rIns="91438" anchor="ctr">
            <a:normAutofit/>
          </a:bodyPr>
          <a:lstStyle>
            <a:lvl1pPr algn="ctr">
              <a:lnSpc>
                <a:spcPct val="90000"/>
              </a:lnSpc>
              <a:defRPr sz="6000">
                <a:latin typeface="Microsoft YaHei"/>
                <a:ea typeface="Microsoft YaHei"/>
                <a:cs typeface="Microsoft YaHei"/>
                <a:sym typeface="Microsoft YaHei"/>
              </a:defRPr>
            </a:lvl1pPr>
            <a:lvl2pPr>
              <a:lnSpc>
                <a:spcPct val="90000"/>
              </a:lnSpc>
              <a:defRPr sz="4400">
                <a:latin typeface="微软雅黑 (Headings)"/>
                <a:ea typeface="微软雅黑 (Headings)"/>
                <a:cs typeface="微软雅黑 (Headings)"/>
                <a:sym typeface="微软雅黑 (Headings)"/>
              </a:defRPr>
            </a:lvl2pPr>
            <a:lvl3pPr>
              <a:lnSpc>
                <a:spcPct val="90000"/>
              </a:lnSpc>
              <a:defRPr sz="4400">
                <a:latin typeface="微软雅黑 (Headings)"/>
                <a:ea typeface="微软雅黑 (Headings)"/>
                <a:cs typeface="微软雅黑 (Headings)"/>
                <a:sym typeface="微软雅黑 (Headings)"/>
              </a:defRPr>
            </a:lvl3pPr>
            <a:lvl4pPr>
              <a:lnSpc>
                <a:spcPct val="90000"/>
              </a:lnSpc>
              <a:defRPr sz="4400">
                <a:latin typeface="微软雅黑 (Headings)"/>
                <a:ea typeface="微软雅黑 (Headings)"/>
                <a:cs typeface="微软雅黑 (Headings)"/>
                <a:sym typeface="微软雅黑 (Headings)"/>
              </a:defRPr>
            </a:lvl4pPr>
            <a:lvl5pPr>
              <a:lnSpc>
                <a:spcPct val="90000"/>
              </a:lnSpc>
              <a:defRPr sz="4400">
                <a:latin typeface="微软雅黑 (Headings)"/>
                <a:ea typeface="微软雅黑 (Headings)"/>
                <a:cs typeface="微软雅黑 (Headings)"/>
                <a:sym typeface="微软雅黑 (Headings)"/>
              </a:defRPr>
            </a:lvl5pPr>
            <a:lvl6pPr>
              <a:lnSpc>
                <a:spcPct val="90000"/>
              </a:lnSpc>
              <a:defRPr sz="4400">
                <a:latin typeface="微软雅黑 (Headings)"/>
                <a:ea typeface="微软雅黑 (Headings)"/>
                <a:cs typeface="微软雅黑 (Headings)"/>
                <a:sym typeface="微软雅黑 (Headings)"/>
              </a:defRPr>
            </a:lvl6pPr>
            <a:lvl7pPr>
              <a:lnSpc>
                <a:spcPct val="90000"/>
              </a:lnSpc>
              <a:defRPr sz="4400">
                <a:latin typeface="微软雅黑 (Headings)"/>
                <a:ea typeface="微软雅黑 (Headings)"/>
                <a:cs typeface="微软雅黑 (Headings)"/>
                <a:sym typeface="微软雅黑 (Headings)"/>
              </a:defRPr>
            </a:lvl7pPr>
            <a:lvl8pPr>
              <a:lnSpc>
                <a:spcPct val="90000"/>
              </a:lnSpc>
              <a:defRPr sz="4400">
                <a:latin typeface="微软雅黑 (Headings)"/>
                <a:ea typeface="微软雅黑 (Headings)"/>
                <a:cs typeface="微软雅黑 (Headings)"/>
                <a:sym typeface="微软雅黑 (Headings)"/>
              </a:defRPr>
            </a:lvl8pPr>
            <a:lvl9pPr>
              <a:lnSpc>
                <a:spcPct val="90000"/>
              </a:lnSpc>
              <a:defRPr sz="4400">
                <a:latin typeface="微软雅黑 (Headings)"/>
                <a:ea typeface="微软雅黑 (Headings)"/>
                <a:cs typeface="微软雅黑 (Headings)"/>
                <a:sym typeface="微软雅黑 (Headings)"/>
              </a:defRPr>
            </a:lvl9pPr>
          </a:lstStyle>
          <a:p>
            <a:pPr algn="l">
              <a:defRPr sz="1800"/>
            </a:pPr>
            <a:r>
              <a:rPr lang="zh-CN" altLang="en-US" sz="66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接口概貌</a:t>
            </a:r>
            <a:endParaRPr lang="en-US" sz="6600" dirty="0">
              <a:solidFill>
                <a:schemeClr val="tx1">
                  <a:lumMod val="50000"/>
                  <a:lumOff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700289811"/>
      </p:ext>
    </p:extLst>
  </p:cSld>
  <p:clrMapOvr>
    <a:masterClrMapping/>
  </p:clrMapOvr>
  <p:transition spd="med"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 73"/>
          <p:cNvSpPr txBox="1">
            <a:spLocks/>
          </p:cNvSpPr>
          <p:nvPr/>
        </p:nvSpPr>
        <p:spPr>
          <a:xfrm>
            <a:off x="369192" y="543910"/>
            <a:ext cx="16383723" cy="186363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91438" rIns="91438" anchor="ctr">
            <a:normAutofit/>
          </a:bodyPr>
          <a:lstStyle>
            <a:lvl1pPr algn="ctr">
              <a:lnSpc>
                <a:spcPct val="90000"/>
              </a:lnSpc>
              <a:defRPr sz="6000">
                <a:latin typeface="Microsoft YaHei"/>
                <a:ea typeface="Microsoft YaHei"/>
                <a:cs typeface="Microsoft YaHei"/>
                <a:sym typeface="Microsoft YaHei"/>
              </a:defRPr>
            </a:lvl1pPr>
            <a:lvl2pPr>
              <a:lnSpc>
                <a:spcPct val="90000"/>
              </a:lnSpc>
              <a:defRPr sz="4400">
                <a:latin typeface="微软雅黑 (Headings)"/>
                <a:ea typeface="微软雅黑 (Headings)"/>
                <a:cs typeface="微软雅黑 (Headings)"/>
                <a:sym typeface="微软雅黑 (Headings)"/>
              </a:defRPr>
            </a:lvl2pPr>
            <a:lvl3pPr>
              <a:lnSpc>
                <a:spcPct val="90000"/>
              </a:lnSpc>
              <a:defRPr sz="4400">
                <a:latin typeface="微软雅黑 (Headings)"/>
                <a:ea typeface="微软雅黑 (Headings)"/>
                <a:cs typeface="微软雅黑 (Headings)"/>
                <a:sym typeface="微软雅黑 (Headings)"/>
              </a:defRPr>
            </a:lvl3pPr>
            <a:lvl4pPr>
              <a:lnSpc>
                <a:spcPct val="90000"/>
              </a:lnSpc>
              <a:defRPr sz="4400">
                <a:latin typeface="微软雅黑 (Headings)"/>
                <a:ea typeface="微软雅黑 (Headings)"/>
                <a:cs typeface="微软雅黑 (Headings)"/>
                <a:sym typeface="微软雅黑 (Headings)"/>
              </a:defRPr>
            </a:lvl4pPr>
            <a:lvl5pPr>
              <a:lnSpc>
                <a:spcPct val="90000"/>
              </a:lnSpc>
              <a:defRPr sz="4400">
                <a:latin typeface="微软雅黑 (Headings)"/>
                <a:ea typeface="微软雅黑 (Headings)"/>
                <a:cs typeface="微软雅黑 (Headings)"/>
                <a:sym typeface="微软雅黑 (Headings)"/>
              </a:defRPr>
            </a:lvl5pPr>
            <a:lvl6pPr>
              <a:lnSpc>
                <a:spcPct val="90000"/>
              </a:lnSpc>
              <a:defRPr sz="4400">
                <a:latin typeface="微软雅黑 (Headings)"/>
                <a:ea typeface="微软雅黑 (Headings)"/>
                <a:cs typeface="微软雅黑 (Headings)"/>
                <a:sym typeface="微软雅黑 (Headings)"/>
              </a:defRPr>
            </a:lvl6pPr>
            <a:lvl7pPr>
              <a:lnSpc>
                <a:spcPct val="90000"/>
              </a:lnSpc>
              <a:defRPr sz="4400">
                <a:latin typeface="微软雅黑 (Headings)"/>
                <a:ea typeface="微软雅黑 (Headings)"/>
                <a:cs typeface="微软雅黑 (Headings)"/>
                <a:sym typeface="微软雅黑 (Headings)"/>
              </a:defRPr>
            </a:lvl7pPr>
            <a:lvl8pPr>
              <a:lnSpc>
                <a:spcPct val="90000"/>
              </a:lnSpc>
              <a:defRPr sz="4400">
                <a:latin typeface="微软雅黑 (Headings)"/>
                <a:ea typeface="微软雅黑 (Headings)"/>
                <a:cs typeface="微软雅黑 (Headings)"/>
                <a:sym typeface="微软雅黑 (Headings)"/>
              </a:defRPr>
            </a:lvl8pPr>
            <a:lvl9pPr>
              <a:lnSpc>
                <a:spcPct val="90000"/>
              </a:lnSpc>
              <a:defRPr sz="4400">
                <a:latin typeface="微软雅黑 (Headings)"/>
                <a:ea typeface="微软雅黑 (Headings)"/>
                <a:cs typeface="微软雅黑 (Headings)"/>
                <a:sym typeface="微软雅黑 (Headings)"/>
              </a:defRPr>
            </a:lvl9pPr>
          </a:lstStyle>
          <a:p>
            <a:pPr algn="l">
              <a:defRPr sz="1800"/>
            </a:pPr>
            <a:r>
              <a:rPr lang="zh-CN" altLang="en-US" sz="66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注册</a:t>
            </a:r>
            <a:endParaRPr lang="en-US" sz="6600" dirty="0">
              <a:solidFill>
                <a:schemeClr val="tx1">
                  <a:lumMod val="50000"/>
                  <a:lumOff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aphicFrame>
        <p:nvGraphicFramePr>
          <p:cNvPr id="5" name="表格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79252380"/>
              </p:ext>
            </p:extLst>
          </p:nvPr>
        </p:nvGraphicFramePr>
        <p:xfrm>
          <a:off x="3956050" y="2407546"/>
          <a:ext cx="16256000" cy="10165454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8128000">
                  <a:extLst>
                    <a:ext uri="{9D8B030D-6E8A-4147-A177-3AD203B41FA5}">
                      <a16:colId xmlns:a16="http://schemas.microsoft.com/office/drawing/2014/main" val="1693384611"/>
                    </a:ext>
                  </a:extLst>
                </a:gridCol>
                <a:gridCol w="8128000">
                  <a:extLst>
                    <a:ext uri="{9D8B030D-6E8A-4147-A177-3AD203B41FA5}">
                      <a16:colId xmlns:a16="http://schemas.microsoft.com/office/drawing/2014/main" val="3874844653"/>
                    </a:ext>
                  </a:extLst>
                </a:gridCol>
              </a:tblGrid>
              <a:tr h="1103207">
                <a:tc>
                  <a:txBody>
                    <a:bodyPr/>
                    <a:lstStyle/>
                    <a:p>
                      <a:r>
                        <a:rPr lang="zh-CN" altLang="en-US" sz="4400" dirty="0">
                          <a:latin typeface="Adobe 仿宋 Std R" panose="02020400000000000000" pitchFamily="18" charset="-122"/>
                          <a:ea typeface="Adobe 仿宋 Std R" panose="02020400000000000000" pitchFamily="18" charset="-122"/>
                        </a:rPr>
                        <a:t>前台网站系统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altLang="zh-CN" sz="4400" dirty="0">
                          <a:latin typeface="Adobe 仿宋 Std R" panose="02020400000000000000" pitchFamily="18" charset="-122"/>
                          <a:ea typeface="Adobe 仿宋 Std R" panose="02020400000000000000" pitchFamily="18" charset="-122"/>
                        </a:rPr>
                        <a:t>DAM</a:t>
                      </a:r>
                      <a:r>
                        <a:rPr lang="zh-CN" altLang="en-US" sz="4400" dirty="0">
                          <a:latin typeface="Adobe 仿宋 Std R" panose="02020400000000000000" pitchFamily="18" charset="-122"/>
                          <a:ea typeface="Adobe 仿宋 Std R" panose="02020400000000000000" pitchFamily="18" charset="-122"/>
                        </a:rPr>
                        <a:t>管理系统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260608950"/>
                  </a:ext>
                </a:extLst>
              </a:tr>
              <a:tr h="9062247"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5811474"/>
                  </a:ext>
                </a:extLst>
              </a:tr>
            </a:tbl>
          </a:graphicData>
        </a:graphic>
      </p:graphicFrame>
      <p:sp>
        <p:nvSpPr>
          <p:cNvPr id="6" name="矩形: 圆角 5"/>
          <p:cNvSpPr/>
          <p:nvPr/>
        </p:nvSpPr>
        <p:spPr>
          <a:xfrm>
            <a:off x="5644515" y="5163065"/>
            <a:ext cx="3164205" cy="1089865"/>
          </a:xfrm>
          <a:prstGeom prst="roundRect">
            <a:avLst>
              <a:gd name="adj" fmla="val 4598"/>
            </a:avLst>
          </a:prstGeom>
          <a:solidFill>
            <a:srgbClr val="327E99"/>
          </a:solidFill>
          <a:ln w="12700" cap="flat">
            <a:noFill/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zh-CN" altLang="en-US" sz="32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rPr>
              <a:t>注册</a:t>
            </a:r>
          </a:p>
        </p:txBody>
      </p:sp>
      <p:sp>
        <p:nvSpPr>
          <p:cNvPr id="7" name="矩形: 圆角 6"/>
          <p:cNvSpPr/>
          <p:nvPr/>
        </p:nvSpPr>
        <p:spPr>
          <a:xfrm>
            <a:off x="15170812" y="5189563"/>
            <a:ext cx="3164205" cy="1089865"/>
          </a:xfrm>
          <a:prstGeom prst="roundRect">
            <a:avLst>
              <a:gd name="adj" fmla="val 4598"/>
            </a:avLst>
          </a:prstGeom>
          <a:solidFill>
            <a:srgbClr val="327E99"/>
          </a:solidFill>
          <a:ln w="12700" cap="flat">
            <a:noFill/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zh-CN" altLang="en-US" sz="32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rPr>
              <a:t>新建用户流程</a:t>
            </a:r>
          </a:p>
        </p:txBody>
      </p:sp>
      <p:cxnSp>
        <p:nvCxnSpPr>
          <p:cNvPr id="9" name="直接箭头连接符 8"/>
          <p:cNvCxnSpPr>
            <a:endCxn id="7" idx="1"/>
          </p:cNvCxnSpPr>
          <p:nvPr/>
        </p:nvCxnSpPr>
        <p:spPr>
          <a:xfrm>
            <a:off x="8869680" y="5734495"/>
            <a:ext cx="6301132" cy="1"/>
          </a:xfrm>
          <a:prstGeom prst="straightConnector1">
            <a:avLst/>
          </a:prstGeom>
          <a:noFill/>
          <a:ln w="38100" cap="flat">
            <a:solidFill>
              <a:srgbClr val="000000"/>
            </a:solidFill>
            <a:prstDash val="solid"/>
            <a:miter lim="400000"/>
            <a:headEnd type="none" w="med" len="med"/>
            <a:tailEnd type="arrow" w="med" len="med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0" name="文本框 9"/>
          <p:cNvSpPr txBox="1"/>
          <p:nvPr/>
        </p:nvSpPr>
        <p:spPr>
          <a:xfrm>
            <a:off x="10064804" y="3854715"/>
            <a:ext cx="1548076" cy="1949252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l" defTabSz="8255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zh-CN" altLang="en-US" sz="24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dobe 仿宋 Std R" panose="02020400000000000000" pitchFamily="18" charset="-122"/>
                <a:ea typeface="Adobe 仿宋 Std R" panose="02020400000000000000" pitchFamily="18" charset="-122"/>
                <a:sym typeface="Helvetica Light"/>
              </a:rPr>
              <a:t>用户名</a:t>
            </a:r>
            <a:endParaRPr kumimoji="0" lang="en-US" altLang="zh-CN" sz="24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dobe 仿宋 Std R" panose="02020400000000000000" pitchFamily="18" charset="-122"/>
              <a:ea typeface="Adobe 仿宋 Std R" panose="02020400000000000000" pitchFamily="18" charset="-122"/>
              <a:sym typeface="Helvetica Light"/>
            </a:endParaRPr>
          </a:p>
          <a:p>
            <a:pPr marL="0" marR="0" indent="0" algn="l" defTabSz="8255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zh-CN" altLang="en-US" sz="24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dobe 仿宋 Std R" panose="02020400000000000000" pitchFamily="18" charset="-122"/>
                <a:ea typeface="Adobe 仿宋 Std R" panose="02020400000000000000" pitchFamily="18" charset="-122"/>
                <a:sym typeface="Helvetica Light"/>
              </a:rPr>
              <a:t>姓名</a:t>
            </a:r>
            <a:endParaRPr kumimoji="0" lang="en-US" altLang="zh-CN" sz="24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dobe 仿宋 Std R" panose="02020400000000000000" pitchFamily="18" charset="-122"/>
              <a:ea typeface="Adobe 仿宋 Std R" panose="02020400000000000000" pitchFamily="18" charset="-122"/>
              <a:sym typeface="Helvetica Light"/>
            </a:endParaRPr>
          </a:p>
          <a:p>
            <a:pPr marL="0" marR="0" indent="0" algn="l" defTabSz="8255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zh-CN" altLang="en-US" sz="24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dobe 仿宋 Std R" panose="02020400000000000000" pitchFamily="18" charset="-122"/>
                <a:ea typeface="Adobe 仿宋 Std R" panose="02020400000000000000" pitchFamily="18" charset="-122"/>
                <a:sym typeface="Helvetica Light"/>
              </a:rPr>
              <a:t>手机号码</a:t>
            </a:r>
            <a:endParaRPr kumimoji="0" lang="en-US" altLang="zh-CN" sz="24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dobe 仿宋 Std R" panose="02020400000000000000" pitchFamily="18" charset="-122"/>
              <a:ea typeface="Adobe 仿宋 Std R" panose="02020400000000000000" pitchFamily="18" charset="-122"/>
              <a:sym typeface="Helvetica Light"/>
            </a:endParaRPr>
          </a:p>
          <a:p>
            <a:pPr marL="0" marR="0" indent="0" algn="l" defTabSz="8255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zh-CN" altLang="en-US" sz="24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dobe 仿宋 Std R" panose="02020400000000000000" pitchFamily="18" charset="-122"/>
                <a:ea typeface="Adobe 仿宋 Std R" panose="02020400000000000000" pitchFamily="18" charset="-122"/>
                <a:sym typeface="Helvetica Light"/>
              </a:rPr>
              <a:t>邀请码</a:t>
            </a:r>
            <a:endParaRPr kumimoji="0" lang="en-US" altLang="zh-CN" sz="24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dobe 仿宋 Std R" panose="02020400000000000000" pitchFamily="18" charset="-122"/>
              <a:ea typeface="Adobe 仿宋 Std R" panose="02020400000000000000" pitchFamily="18" charset="-122"/>
              <a:sym typeface="Helvetica Light"/>
            </a:endParaRPr>
          </a:p>
          <a:p>
            <a:pPr marL="0" marR="0" indent="0" algn="l" defTabSz="8255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zh-CN" altLang="en-US" sz="24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dobe 仿宋 Std R" panose="02020400000000000000" pitchFamily="18" charset="-122"/>
                <a:ea typeface="Adobe 仿宋 Std R" panose="02020400000000000000" pitchFamily="18" charset="-122"/>
                <a:sym typeface="Helvetica Light"/>
              </a:rPr>
              <a:t>密码</a:t>
            </a:r>
            <a:endParaRPr kumimoji="0" lang="en-US" altLang="zh-CN" sz="24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dobe 仿宋 Std R" panose="02020400000000000000" pitchFamily="18" charset="-122"/>
              <a:ea typeface="Adobe 仿宋 Std R" panose="02020400000000000000" pitchFamily="18" charset="-122"/>
              <a:sym typeface="Helvetica Light"/>
            </a:endParaRPr>
          </a:p>
        </p:txBody>
      </p:sp>
      <p:sp>
        <p:nvSpPr>
          <p:cNvPr id="12" name="菱形 11"/>
          <p:cNvSpPr/>
          <p:nvPr/>
        </p:nvSpPr>
        <p:spPr>
          <a:xfrm>
            <a:off x="15373045" y="7346632"/>
            <a:ext cx="2759737" cy="1543685"/>
          </a:xfrm>
          <a:prstGeom prst="diamond">
            <a:avLst/>
          </a:prstGeom>
          <a:solidFill>
            <a:srgbClr val="327E99"/>
          </a:solidFill>
          <a:ln w="12700" cap="flat">
            <a:noFill/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  <p:cxnSp>
        <p:nvCxnSpPr>
          <p:cNvPr id="14" name="直接箭头连接符 13"/>
          <p:cNvCxnSpPr>
            <a:endCxn id="12" idx="0"/>
          </p:cNvCxnSpPr>
          <p:nvPr/>
        </p:nvCxnSpPr>
        <p:spPr>
          <a:xfrm>
            <a:off x="16752913" y="6279428"/>
            <a:ext cx="1" cy="1067204"/>
          </a:xfrm>
          <a:prstGeom prst="straightConnector1">
            <a:avLst/>
          </a:prstGeom>
          <a:noFill/>
          <a:ln w="38100" cap="flat">
            <a:solidFill>
              <a:srgbClr val="000000"/>
            </a:solidFill>
            <a:prstDash val="solid"/>
            <a:miter lim="400000"/>
            <a:headEnd type="none" w="med" len="med"/>
            <a:tailEnd type="arrow" w="med" len="med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18" name="直接箭头连接符 17"/>
          <p:cNvCxnSpPr>
            <a:cxnSpLocks/>
            <a:endCxn id="19" idx="3"/>
          </p:cNvCxnSpPr>
          <p:nvPr/>
        </p:nvCxnSpPr>
        <p:spPr>
          <a:xfrm flipH="1" flipV="1">
            <a:off x="8835373" y="8116566"/>
            <a:ext cx="6537672" cy="1912"/>
          </a:xfrm>
          <a:prstGeom prst="straightConnector1">
            <a:avLst/>
          </a:prstGeom>
          <a:noFill/>
          <a:ln w="38100" cap="flat">
            <a:solidFill>
              <a:srgbClr val="000000"/>
            </a:solidFill>
            <a:prstDash val="solid"/>
            <a:miter lim="400000"/>
            <a:headEnd type="none" w="med" len="med"/>
            <a:tailEnd type="arrow" w="med" len="med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9" name="矩形: 圆角 18"/>
          <p:cNvSpPr/>
          <p:nvPr/>
        </p:nvSpPr>
        <p:spPr>
          <a:xfrm>
            <a:off x="5671168" y="7571633"/>
            <a:ext cx="3164205" cy="1089865"/>
          </a:xfrm>
          <a:prstGeom prst="roundRect">
            <a:avLst>
              <a:gd name="adj" fmla="val 4598"/>
            </a:avLst>
          </a:prstGeom>
          <a:solidFill>
            <a:srgbClr val="327E99"/>
          </a:solidFill>
          <a:ln w="12700" cap="flat">
            <a:noFill/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zh-CN" altLang="en-US" sz="32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rPr>
              <a:t>错误提示</a:t>
            </a:r>
          </a:p>
        </p:txBody>
      </p:sp>
      <p:sp>
        <p:nvSpPr>
          <p:cNvPr id="20" name="文本框 19"/>
          <p:cNvSpPr txBox="1"/>
          <p:nvPr/>
        </p:nvSpPr>
        <p:spPr>
          <a:xfrm>
            <a:off x="12552026" y="6556672"/>
            <a:ext cx="2364592" cy="1579920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l" defTabSz="8255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zh-CN" altLang="en-US" sz="24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dobe 仿宋 Std R" panose="02020400000000000000" pitchFamily="18" charset="-122"/>
                <a:ea typeface="Adobe 仿宋 Std R" panose="02020400000000000000" pitchFamily="18" charset="-122"/>
                <a:sym typeface="Helvetica Light"/>
              </a:rPr>
              <a:t>错误信息：</a:t>
            </a:r>
            <a:endParaRPr kumimoji="0" lang="en-US" altLang="zh-CN" sz="24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dobe 仿宋 Std R" panose="02020400000000000000" pitchFamily="18" charset="-122"/>
              <a:ea typeface="Adobe 仿宋 Std R" panose="02020400000000000000" pitchFamily="18" charset="-122"/>
              <a:sym typeface="Helvetica Light"/>
            </a:endParaRPr>
          </a:p>
          <a:p>
            <a:pPr marL="0" marR="0" indent="0" algn="l" defTabSz="8255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zh-CN" altLang="en-US" sz="24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dobe 仿宋 Std R" panose="02020400000000000000" pitchFamily="18" charset="-122"/>
                <a:ea typeface="Adobe 仿宋 Std R" panose="02020400000000000000" pitchFamily="18" charset="-122"/>
                <a:sym typeface="Helvetica Light"/>
              </a:rPr>
              <a:t>手机号重复</a:t>
            </a:r>
            <a:endParaRPr kumimoji="0" lang="en-US" altLang="zh-CN" sz="24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dobe 仿宋 Std R" panose="02020400000000000000" pitchFamily="18" charset="-122"/>
              <a:ea typeface="Adobe 仿宋 Std R" panose="02020400000000000000" pitchFamily="18" charset="-122"/>
              <a:sym typeface="Helvetica Light"/>
            </a:endParaRPr>
          </a:p>
          <a:p>
            <a:pPr marL="0" marR="0" indent="0" algn="l" defTabSz="8255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zh-CN" altLang="en-US" sz="24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dobe 仿宋 Std R" panose="02020400000000000000" pitchFamily="18" charset="-122"/>
                <a:ea typeface="Adobe 仿宋 Std R" panose="02020400000000000000" pitchFamily="18" charset="-122"/>
                <a:sym typeface="Helvetica Light"/>
              </a:rPr>
              <a:t>邮箱重复</a:t>
            </a:r>
            <a:endParaRPr kumimoji="0" lang="en-US" altLang="zh-CN" sz="24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dobe 仿宋 Std R" panose="02020400000000000000" pitchFamily="18" charset="-122"/>
              <a:ea typeface="Adobe 仿宋 Std R" panose="02020400000000000000" pitchFamily="18" charset="-122"/>
              <a:sym typeface="Helvetica Light"/>
            </a:endParaRPr>
          </a:p>
          <a:p>
            <a:pPr marL="0" marR="0" indent="0" algn="l" defTabSz="8255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zh-CN" altLang="en-US" sz="24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dobe 仿宋 Std R" panose="02020400000000000000" pitchFamily="18" charset="-122"/>
                <a:ea typeface="Adobe 仿宋 Std R" panose="02020400000000000000" pitchFamily="18" charset="-122"/>
                <a:sym typeface="Helvetica Light"/>
              </a:rPr>
              <a:t>邀请码错误</a:t>
            </a:r>
            <a:endParaRPr kumimoji="0" lang="en-US" altLang="zh-CN" sz="24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dobe 仿宋 Std R" panose="02020400000000000000" pitchFamily="18" charset="-122"/>
              <a:ea typeface="Adobe 仿宋 Std R" panose="02020400000000000000" pitchFamily="18" charset="-122"/>
              <a:sym typeface="Helvetica Light"/>
            </a:endParaRPr>
          </a:p>
        </p:txBody>
      </p:sp>
      <p:sp>
        <p:nvSpPr>
          <p:cNvPr id="23" name="矩形: 圆角 22"/>
          <p:cNvSpPr/>
          <p:nvPr/>
        </p:nvSpPr>
        <p:spPr>
          <a:xfrm>
            <a:off x="5616380" y="9980201"/>
            <a:ext cx="3164205" cy="1089865"/>
          </a:xfrm>
          <a:prstGeom prst="roundRect">
            <a:avLst>
              <a:gd name="adj" fmla="val 4598"/>
            </a:avLst>
          </a:prstGeom>
          <a:solidFill>
            <a:srgbClr val="327E99"/>
          </a:solidFill>
          <a:ln w="12700" cap="flat">
            <a:noFill/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zh-CN" altLang="en-US" sz="32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rPr>
              <a:t>注册成功</a:t>
            </a:r>
          </a:p>
        </p:txBody>
      </p:sp>
      <p:cxnSp>
        <p:nvCxnSpPr>
          <p:cNvPr id="29" name="连接符: 肘形 28"/>
          <p:cNvCxnSpPr>
            <a:stCxn id="12" idx="2"/>
            <a:endCxn id="23" idx="3"/>
          </p:cNvCxnSpPr>
          <p:nvPr/>
        </p:nvCxnSpPr>
        <p:spPr>
          <a:xfrm rot="5400000">
            <a:off x="11949342" y="5721561"/>
            <a:ext cx="1634817" cy="7972329"/>
          </a:xfrm>
          <a:prstGeom prst="bentConnector2">
            <a:avLst/>
          </a:prstGeom>
          <a:noFill/>
          <a:ln w="38100" cap="flat">
            <a:solidFill>
              <a:srgbClr val="000000"/>
            </a:solidFill>
            <a:prstDash val="solid"/>
            <a:miter lim="400000"/>
            <a:headEnd type="none" w="med" len="med"/>
            <a:tailEnd type="arrow" w="med" len="med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30" name="文本框 29"/>
          <p:cNvSpPr txBox="1"/>
          <p:nvPr/>
        </p:nvSpPr>
        <p:spPr>
          <a:xfrm>
            <a:off x="12367443" y="9955616"/>
            <a:ext cx="2364592" cy="471924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l" defTabSz="8255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zh-CN" altLang="en-US" sz="24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dobe 仿宋 Std R" panose="02020400000000000000" pitchFamily="18" charset="-122"/>
                <a:ea typeface="Adobe 仿宋 Std R" panose="02020400000000000000" pitchFamily="18" charset="-122"/>
                <a:sym typeface="Helvetica Light"/>
              </a:rPr>
              <a:t>注册成功</a:t>
            </a:r>
            <a:endParaRPr kumimoji="0" lang="en-US" altLang="zh-CN" sz="24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dobe 仿宋 Std R" panose="02020400000000000000" pitchFamily="18" charset="-122"/>
              <a:ea typeface="Adobe 仿宋 Std R" panose="02020400000000000000" pitchFamily="18" charset="-122"/>
              <a:sym typeface="Helvetica Light"/>
            </a:endParaRPr>
          </a:p>
        </p:txBody>
      </p:sp>
    </p:spTree>
    <p:extLst>
      <p:ext uri="{BB962C8B-B14F-4D97-AF65-F5344CB8AC3E}">
        <p14:creationId xmlns:p14="http://schemas.microsoft.com/office/powerpoint/2010/main" val="2054084557"/>
      </p:ext>
    </p:extLst>
  </p:cSld>
  <p:clrMapOvr>
    <a:masterClrMapping/>
  </p:clrMapOvr>
  <p:transition spd="med"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 73"/>
          <p:cNvSpPr txBox="1">
            <a:spLocks/>
          </p:cNvSpPr>
          <p:nvPr/>
        </p:nvSpPr>
        <p:spPr>
          <a:xfrm>
            <a:off x="369192" y="543910"/>
            <a:ext cx="16383723" cy="186363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91438" rIns="91438" anchor="ctr">
            <a:normAutofit/>
          </a:bodyPr>
          <a:lstStyle>
            <a:lvl1pPr algn="ctr">
              <a:lnSpc>
                <a:spcPct val="90000"/>
              </a:lnSpc>
              <a:defRPr sz="6000">
                <a:latin typeface="Microsoft YaHei"/>
                <a:ea typeface="Microsoft YaHei"/>
                <a:cs typeface="Microsoft YaHei"/>
                <a:sym typeface="Microsoft YaHei"/>
              </a:defRPr>
            </a:lvl1pPr>
            <a:lvl2pPr>
              <a:lnSpc>
                <a:spcPct val="90000"/>
              </a:lnSpc>
              <a:defRPr sz="4400">
                <a:latin typeface="微软雅黑 (Headings)"/>
                <a:ea typeface="微软雅黑 (Headings)"/>
                <a:cs typeface="微软雅黑 (Headings)"/>
                <a:sym typeface="微软雅黑 (Headings)"/>
              </a:defRPr>
            </a:lvl2pPr>
            <a:lvl3pPr>
              <a:lnSpc>
                <a:spcPct val="90000"/>
              </a:lnSpc>
              <a:defRPr sz="4400">
                <a:latin typeface="微软雅黑 (Headings)"/>
                <a:ea typeface="微软雅黑 (Headings)"/>
                <a:cs typeface="微软雅黑 (Headings)"/>
                <a:sym typeface="微软雅黑 (Headings)"/>
              </a:defRPr>
            </a:lvl3pPr>
            <a:lvl4pPr>
              <a:lnSpc>
                <a:spcPct val="90000"/>
              </a:lnSpc>
              <a:defRPr sz="4400">
                <a:latin typeface="微软雅黑 (Headings)"/>
                <a:ea typeface="微软雅黑 (Headings)"/>
                <a:cs typeface="微软雅黑 (Headings)"/>
                <a:sym typeface="微软雅黑 (Headings)"/>
              </a:defRPr>
            </a:lvl4pPr>
            <a:lvl5pPr>
              <a:lnSpc>
                <a:spcPct val="90000"/>
              </a:lnSpc>
              <a:defRPr sz="4400">
                <a:latin typeface="微软雅黑 (Headings)"/>
                <a:ea typeface="微软雅黑 (Headings)"/>
                <a:cs typeface="微软雅黑 (Headings)"/>
                <a:sym typeface="微软雅黑 (Headings)"/>
              </a:defRPr>
            </a:lvl5pPr>
            <a:lvl6pPr>
              <a:lnSpc>
                <a:spcPct val="90000"/>
              </a:lnSpc>
              <a:defRPr sz="4400">
                <a:latin typeface="微软雅黑 (Headings)"/>
                <a:ea typeface="微软雅黑 (Headings)"/>
                <a:cs typeface="微软雅黑 (Headings)"/>
                <a:sym typeface="微软雅黑 (Headings)"/>
              </a:defRPr>
            </a:lvl6pPr>
            <a:lvl7pPr>
              <a:lnSpc>
                <a:spcPct val="90000"/>
              </a:lnSpc>
              <a:defRPr sz="4400">
                <a:latin typeface="微软雅黑 (Headings)"/>
                <a:ea typeface="微软雅黑 (Headings)"/>
                <a:cs typeface="微软雅黑 (Headings)"/>
                <a:sym typeface="微软雅黑 (Headings)"/>
              </a:defRPr>
            </a:lvl7pPr>
            <a:lvl8pPr>
              <a:lnSpc>
                <a:spcPct val="90000"/>
              </a:lnSpc>
              <a:defRPr sz="4400">
                <a:latin typeface="微软雅黑 (Headings)"/>
                <a:ea typeface="微软雅黑 (Headings)"/>
                <a:cs typeface="微软雅黑 (Headings)"/>
                <a:sym typeface="微软雅黑 (Headings)"/>
              </a:defRPr>
            </a:lvl8pPr>
            <a:lvl9pPr>
              <a:lnSpc>
                <a:spcPct val="90000"/>
              </a:lnSpc>
              <a:defRPr sz="4400">
                <a:latin typeface="微软雅黑 (Headings)"/>
                <a:ea typeface="微软雅黑 (Headings)"/>
                <a:cs typeface="微软雅黑 (Headings)"/>
                <a:sym typeface="微软雅黑 (Headings)"/>
              </a:defRPr>
            </a:lvl9pPr>
          </a:lstStyle>
          <a:p>
            <a:pPr algn="l">
              <a:defRPr sz="1800"/>
            </a:pPr>
            <a:r>
              <a:rPr lang="zh-CN" altLang="en-US" sz="66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登录鉴权</a:t>
            </a:r>
            <a:endParaRPr lang="en-US" sz="6600" dirty="0">
              <a:solidFill>
                <a:schemeClr val="tx1">
                  <a:lumMod val="50000"/>
                  <a:lumOff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aphicFrame>
        <p:nvGraphicFramePr>
          <p:cNvPr id="5" name="表格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22577499"/>
              </p:ext>
            </p:extLst>
          </p:nvPr>
        </p:nvGraphicFramePr>
        <p:xfrm>
          <a:off x="3960133" y="2799431"/>
          <a:ext cx="16256000" cy="10165454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8128000">
                  <a:extLst>
                    <a:ext uri="{9D8B030D-6E8A-4147-A177-3AD203B41FA5}">
                      <a16:colId xmlns:a16="http://schemas.microsoft.com/office/drawing/2014/main" val="1693384611"/>
                    </a:ext>
                  </a:extLst>
                </a:gridCol>
                <a:gridCol w="8128000">
                  <a:extLst>
                    <a:ext uri="{9D8B030D-6E8A-4147-A177-3AD203B41FA5}">
                      <a16:colId xmlns:a16="http://schemas.microsoft.com/office/drawing/2014/main" val="3874844653"/>
                    </a:ext>
                  </a:extLst>
                </a:gridCol>
              </a:tblGrid>
              <a:tr h="1103207">
                <a:tc>
                  <a:txBody>
                    <a:bodyPr/>
                    <a:lstStyle/>
                    <a:p>
                      <a:r>
                        <a:rPr lang="zh-CN" altLang="en-US" sz="4400" dirty="0">
                          <a:latin typeface="Adobe 仿宋 Std R" panose="02020400000000000000" pitchFamily="18" charset="-122"/>
                          <a:ea typeface="Adobe 仿宋 Std R" panose="02020400000000000000" pitchFamily="18" charset="-122"/>
                        </a:rPr>
                        <a:t>前台网站系统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altLang="zh-CN" sz="4400" dirty="0">
                          <a:latin typeface="Adobe 仿宋 Std R" panose="02020400000000000000" pitchFamily="18" charset="-122"/>
                          <a:ea typeface="Adobe 仿宋 Std R" panose="02020400000000000000" pitchFamily="18" charset="-122"/>
                        </a:rPr>
                        <a:t>DAM</a:t>
                      </a:r>
                      <a:r>
                        <a:rPr lang="zh-CN" altLang="en-US" sz="4400" dirty="0">
                          <a:latin typeface="Adobe 仿宋 Std R" panose="02020400000000000000" pitchFamily="18" charset="-122"/>
                          <a:ea typeface="Adobe 仿宋 Std R" panose="02020400000000000000" pitchFamily="18" charset="-122"/>
                        </a:rPr>
                        <a:t>管理系统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260608950"/>
                  </a:ext>
                </a:extLst>
              </a:tr>
              <a:tr h="9062247"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5811474"/>
                  </a:ext>
                </a:extLst>
              </a:tr>
            </a:tbl>
          </a:graphicData>
        </a:graphic>
      </p:graphicFrame>
      <p:sp>
        <p:nvSpPr>
          <p:cNvPr id="6" name="矩形: 圆角 5"/>
          <p:cNvSpPr/>
          <p:nvPr/>
        </p:nvSpPr>
        <p:spPr>
          <a:xfrm>
            <a:off x="5648598" y="5554950"/>
            <a:ext cx="3164205" cy="1089865"/>
          </a:xfrm>
          <a:prstGeom prst="roundRect">
            <a:avLst>
              <a:gd name="adj" fmla="val 4598"/>
            </a:avLst>
          </a:prstGeom>
          <a:solidFill>
            <a:srgbClr val="327E99"/>
          </a:solidFill>
          <a:ln w="12700" cap="flat">
            <a:noFill/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zh-CN" altLang="en-US" sz="32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rPr>
              <a:t>登录</a:t>
            </a:r>
          </a:p>
        </p:txBody>
      </p:sp>
      <p:sp>
        <p:nvSpPr>
          <p:cNvPr id="7" name="矩形: 圆角 6"/>
          <p:cNvSpPr/>
          <p:nvPr/>
        </p:nvSpPr>
        <p:spPr>
          <a:xfrm>
            <a:off x="15174895" y="5581448"/>
            <a:ext cx="3164205" cy="1089865"/>
          </a:xfrm>
          <a:prstGeom prst="roundRect">
            <a:avLst>
              <a:gd name="adj" fmla="val 4598"/>
            </a:avLst>
          </a:prstGeom>
          <a:solidFill>
            <a:srgbClr val="327E99"/>
          </a:solidFill>
          <a:ln w="12700" cap="flat">
            <a:noFill/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zh-CN" altLang="en-US" sz="32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rPr>
              <a:t>登录鉴权</a:t>
            </a:r>
          </a:p>
        </p:txBody>
      </p:sp>
      <p:cxnSp>
        <p:nvCxnSpPr>
          <p:cNvPr id="9" name="直接箭头连接符 8"/>
          <p:cNvCxnSpPr>
            <a:endCxn id="7" idx="1"/>
          </p:cNvCxnSpPr>
          <p:nvPr/>
        </p:nvCxnSpPr>
        <p:spPr>
          <a:xfrm>
            <a:off x="8873763" y="6126380"/>
            <a:ext cx="6301132" cy="1"/>
          </a:xfrm>
          <a:prstGeom prst="straightConnector1">
            <a:avLst/>
          </a:prstGeom>
          <a:noFill/>
          <a:ln w="38100" cap="flat">
            <a:solidFill>
              <a:srgbClr val="000000"/>
            </a:solidFill>
            <a:prstDash val="solid"/>
            <a:miter lim="400000"/>
            <a:headEnd type="none" w="med" len="med"/>
            <a:tailEnd type="arrow" w="med" len="med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0" name="文本框 9"/>
          <p:cNvSpPr txBox="1"/>
          <p:nvPr/>
        </p:nvSpPr>
        <p:spPr>
          <a:xfrm>
            <a:off x="10025344" y="5160820"/>
            <a:ext cx="1548076" cy="841256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l" defTabSz="8255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zh-CN" altLang="en-US" sz="24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dobe 仿宋 Std R" panose="02020400000000000000" pitchFamily="18" charset="-122"/>
                <a:ea typeface="Adobe 仿宋 Std R" panose="02020400000000000000" pitchFamily="18" charset="-122"/>
                <a:sym typeface="Helvetica Light"/>
              </a:rPr>
              <a:t>用户名</a:t>
            </a:r>
            <a:endParaRPr kumimoji="0" lang="en-US" altLang="zh-CN" sz="24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dobe 仿宋 Std R" panose="02020400000000000000" pitchFamily="18" charset="-122"/>
              <a:ea typeface="Adobe 仿宋 Std R" panose="02020400000000000000" pitchFamily="18" charset="-122"/>
              <a:sym typeface="Helvetica Light"/>
            </a:endParaRPr>
          </a:p>
          <a:p>
            <a:pPr marL="0" marR="0" indent="0" algn="l" defTabSz="8255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zh-CN" altLang="en-US" sz="24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dobe 仿宋 Std R" panose="02020400000000000000" pitchFamily="18" charset="-122"/>
                <a:ea typeface="Adobe 仿宋 Std R" panose="02020400000000000000" pitchFamily="18" charset="-122"/>
                <a:sym typeface="Helvetica Light"/>
              </a:rPr>
              <a:t>密码</a:t>
            </a:r>
            <a:endParaRPr kumimoji="0" lang="en-US" altLang="zh-CN" sz="24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dobe 仿宋 Std R" panose="02020400000000000000" pitchFamily="18" charset="-122"/>
              <a:ea typeface="Adobe 仿宋 Std R" panose="02020400000000000000" pitchFamily="18" charset="-122"/>
              <a:sym typeface="Helvetica Light"/>
            </a:endParaRPr>
          </a:p>
        </p:txBody>
      </p:sp>
      <p:sp>
        <p:nvSpPr>
          <p:cNvPr id="12" name="菱形 11"/>
          <p:cNvSpPr/>
          <p:nvPr/>
        </p:nvSpPr>
        <p:spPr>
          <a:xfrm>
            <a:off x="15377128" y="7444604"/>
            <a:ext cx="2759737" cy="1543685"/>
          </a:xfrm>
          <a:prstGeom prst="diamond">
            <a:avLst/>
          </a:prstGeom>
          <a:solidFill>
            <a:srgbClr val="327E99"/>
          </a:solidFill>
          <a:ln w="12700" cap="flat">
            <a:noFill/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  <p:cxnSp>
        <p:nvCxnSpPr>
          <p:cNvPr id="14" name="直接箭头连接符 13"/>
          <p:cNvCxnSpPr>
            <a:endCxn id="12" idx="0"/>
          </p:cNvCxnSpPr>
          <p:nvPr/>
        </p:nvCxnSpPr>
        <p:spPr>
          <a:xfrm>
            <a:off x="16756996" y="6377400"/>
            <a:ext cx="1" cy="1067204"/>
          </a:xfrm>
          <a:prstGeom prst="straightConnector1">
            <a:avLst/>
          </a:prstGeom>
          <a:noFill/>
          <a:ln w="38100" cap="flat">
            <a:solidFill>
              <a:srgbClr val="000000"/>
            </a:solidFill>
            <a:prstDash val="solid"/>
            <a:miter lim="400000"/>
            <a:headEnd type="none" w="med" len="med"/>
            <a:tailEnd type="arrow" w="med" len="med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18" name="直接箭头连接符 17"/>
          <p:cNvCxnSpPr>
            <a:cxnSpLocks/>
            <a:endCxn id="19" idx="3"/>
          </p:cNvCxnSpPr>
          <p:nvPr/>
        </p:nvCxnSpPr>
        <p:spPr>
          <a:xfrm flipH="1" flipV="1">
            <a:off x="8839456" y="8214538"/>
            <a:ext cx="6537672" cy="1912"/>
          </a:xfrm>
          <a:prstGeom prst="straightConnector1">
            <a:avLst/>
          </a:prstGeom>
          <a:noFill/>
          <a:ln w="38100" cap="flat">
            <a:solidFill>
              <a:srgbClr val="000000"/>
            </a:solidFill>
            <a:prstDash val="solid"/>
            <a:miter lim="400000"/>
            <a:headEnd type="none" w="med" len="med"/>
            <a:tailEnd type="arrow" w="med" len="med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9" name="矩形: 圆角 18"/>
          <p:cNvSpPr/>
          <p:nvPr/>
        </p:nvSpPr>
        <p:spPr>
          <a:xfrm>
            <a:off x="5675251" y="7669605"/>
            <a:ext cx="3164205" cy="1089865"/>
          </a:xfrm>
          <a:prstGeom prst="roundRect">
            <a:avLst>
              <a:gd name="adj" fmla="val 4598"/>
            </a:avLst>
          </a:prstGeom>
          <a:solidFill>
            <a:srgbClr val="327E99"/>
          </a:solidFill>
          <a:ln w="12700" cap="flat">
            <a:noFill/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zh-CN" altLang="en-US" sz="32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rPr>
              <a:t>错误提示</a:t>
            </a:r>
          </a:p>
        </p:txBody>
      </p:sp>
      <p:sp>
        <p:nvSpPr>
          <p:cNvPr id="20" name="文本框 19"/>
          <p:cNvSpPr txBox="1"/>
          <p:nvPr/>
        </p:nvSpPr>
        <p:spPr>
          <a:xfrm>
            <a:off x="12371526" y="7023976"/>
            <a:ext cx="2549175" cy="841256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l" defTabSz="8255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zh-CN" altLang="en-US" sz="24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dobe 仿宋 Std R" panose="02020400000000000000" pitchFamily="18" charset="-122"/>
                <a:ea typeface="Adobe 仿宋 Std R" panose="02020400000000000000" pitchFamily="18" charset="-122"/>
                <a:sym typeface="Helvetica Light"/>
              </a:rPr>
              <a:t>错误信息：</a:t>
            </a:r>
            <a:endParaRPr kumimoji="0" lang="en-US" altLang="zh-CN" sz="24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dobe 仿宋 Std R" panose="02020400000000000000" pitchFamily="18" charset="-122"/>
              <a:ea typeface="Adobe 仿宋 Std R" panose="02020400000000000000" pitchFamily="18" charset="-122"/>
              <a:sym typeface="Helvetica Light"/>
            </a:endParaRPr>
          </a:p>
          <a:p>
            <a:pPr marL="0" marR="0" indent="0" algn="l" defTabSz="8255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zh-CN" altLang="en-US" sz="24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dobe 仿宋 Std R" panose="02020400000000000000" pitchFamily="18" charset="-122"/>
                <a:ea typeface="Adobe 仿宋 Std R" panose="02020400000000000000" pitchFamily="18" charset="-122"/>
                <a:sym typeface="Helvetica Light"/>
              </a:rPr>
              <a:t>用户名错，密码错</a:t>
            </a:r>
            <a:endParaRPr kumimoji="0" lang="en-US" altLang="zh-CN" sz="24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dobe 仿宋 Std R" panose="02020400000000000000" pitchFamily="18" charset="-122"/>
              <a:ea typeface="Adobe 仿宋 Std R" panose="02020400000000000000" pitchFamily="18" charset="-122"/>
              <a:sym typeface="Helvetica Light"/>
            </a:endParaRPr>
          </a:p>
        </p:txBody>
      </p:sp>
      <p:sp>
        <p:nvSpPr>
          <p:cNvPr id="23" name="矩形: 圆角 22"/>
          <p:cNvSpPr/>
          <p:nvPr/>
        </p:nvSpPr>
        <p:spPr>
          <a:xfrm>
            <a:off x="5620463" y="9620973"/>
            <a:ext cx="3164205" cy="1089865"/>
          </a:xfrm>
          <a:prstGeom prst="roundRect">
            <a:avLst>
              <a:gd name="adj" fmla="val 4598"/>
            </a:avLst>
          </a:prstGeom>
          <a:solidFill>
            <a:srgbClr val="327E99"/>
          </a:solidFill>
          <a:ln w="12700" cap="flat">
            <a:noFill/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zh-CN" altLang="en-US" sz="32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rPr>
              <a:t>登录成功</a:t>
            </a:r>
          </a:p>
        </p:txBody>
      </p:sp>
      <p:cxnSp>
        <p:nvCxnSpPr>
          <p:cNvPr id="29" name="连接符: 肘形 28"/>
          <p:cNvCxnSpPr>
            <a:stCxn id="12" idx="2"/>
            <a:endCxn id="23" idx="3"/>
          </p:cNvCxnSpPr>
          <p:nvPr/>
        </p:nvCxnSpPr>
        <p:spPr>
          <a:xfrm rot="5400000">
            <a:off x="12182025" y="5590933"/>
            <a:ext cx="1177617" cy="7972329"/>
          </a:xfrm>
          <a:prstGeom prst="bentConnector2">
            <a:avLst/>
          </a:prstGeom>
          <a:noFill/>
          <a:ln w="38100" cap="flat">
            <a:solidFill>
              <a:srgbClr val="000000"/>
            </a:solidFill>
            <a:prstDash val="solid"/>
            <a:miter lim="400000"/>
            <a:headEnd type="none" w="med" len="med"/>
            <a:tailEnd type="arrow" w="med" len="med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30" name="文本框 29"/>
          <p:cNvSpPr txBox="1"/>
          <p:nvPr/>
        </p:nvSpPr>
        <p:spPr>
          <a:xfrm>
            <a:off x="11058525" y="9629045"/>
            <a:ext cx="5057775" cy="471924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l" defTabSz="8255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zh-CN" altLang="en-US" sz="24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dobe 仿宋 Std R" panose="02020400000000000000" pitchFamily="18" charset="-122"/>
                <a:ea typeface="Adobe 仿宋 Std R" panose="02020400000000000000" pitchFamily="18" charset="-122"/>
                <a:sym typeface="Helvetica Light"/>
              </a:rPr>
              <a:t>注册成功，用户</a:t>
            </a:r>
            <a:r>
              <a:rPr kumimoji="0" lang="en-US" altLang="zh-CN" sz="24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dobe 仿宋 Std R" panose="02020400000000000000" pitchFamily="18" charset="-122"/>
                <a:ea typeface="Adobe 仿宋 Std R" panose="02020400000000000000" pitchFamily="18" charset="-122"/>
                <a:sym typeface="Helvetica Light"/>
              </a:rPr>
              <a:t>ID</a:t>
            </a:r>
            <a:r>
              <a:rPr kumimoji="0" lang="zh-CN" altLang="en-US" sz="24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dobe 仿宋 Std R" panose="02020400000000000000" pitchFamily="18" charset="-122"/>
                <a:ea typeface="Adobe 仿宋 Std R" panose="02020400000000000000" pitchFamily="18" charset="-122"/>
                <a:sym typeface="Helvetica Light"/>
              </a:rPr>
              <a:t>，用户目录权限</a:t>
            </a:r>
            <a:endParaRPr kumimoji="0" lang="en-US" altLang="zh-CN" sz="24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dobe 仿宋 Std R" panose="02020400000000000000" pitchFamily="18" charset="-122"/>
              <a:ea typeface="Adobe 仿宋 Std R" panose="02020400000000000000" pitchFamily="18" charset="-122"/>
              <a:sym typeface="Helvetica Light"/>
            </a:endParaRPr>
          </a:p>
        </p:txBody>
      </p:sp>
    </p:spTree>
    <p:extLst>
      <p:ext uri="{BB962C8B-B14F-4D97-AF65-F5344CB8AC3E}">
        <p14:creationId xmlns:p14="http://schemas.microsoft.com/office/powerpoint/2010/main" val="2971189332"/>
      </p:ext>
    </p:extLst>
  </p:cSld>
  <p:clrMapOvr>
    <a:masterClrMapping/>
  </p:clrMapOvr>
  <p:transition spd="med"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73"/>
          <p:cNvSpPr txBox="1">
            <a:spLocks/>
          </p:cNvSpPr>
          <p:nvPr/>
        </p:nvSpPr>
        <p:spPr>
          <a:xfrm>
            <a:off x="369192" y="543910"/>
            <a:ext cx="16383723" cy="186363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91438" rIns="91438" anchor="ctr">
            <a:normAutofit/>
          </a:bodyPr>
          <a:lstStyle>
            <a:lvl1pPr algn="ctr">
              <a:lnSpc>
                <a:spcPct val="90000"/>
              </a:lnSpc>
              <a:defRPr sz="6000">
                <a:latin typeface="Microsoft YaHei"/>
                <a:ea typeface="Microsoft YaHei"/>
                <a:cs typeface="Microsoft YaHei"/>
                <a:sym typeface="Microsoft YaHei"/>
              </a:defRPr>
            </a:lvl1pPr>
            <a:lvl2pPr>
              <a:lnSpc>
                <a:spcPct val="90000"/>
              </a:lnSpc>
              <a:defRPr sz="4400">
                <a:latin typeface="微软雅黑 (Headings)"/>
                <a:ea typeface="微软雅黑 (Headings)"/>
                <a:cs typeface="微软雅黑 (Headings)"/>
                <a:sym typeface="微软雅黑 (Headings)"/>
              </a:defRPr>
            </a:lvl2pPr>
            <a:lvl3pPr>
              <a:lnSpc>
                <a:spcPct val="90000"/>
              </a:lnSpc>
              <a:defRPr sz="4400">
                <a:latin typeface="微软雅黑 (Headings)"/>
                <a:ea typeface="微软雅黑 (Headings)"/>
                <a:cs typeface="微软雅黑 (Headings)"/>
                <a:sym typeface="微软雅黑 (Headings)"/>
              </a:defRPr>
            </a:lvl3pPr>
            <a:lvl4pPr>
              <a:lnSpc>
                <a:spcPct val="90000"/>
              </a:lnSpc>
              <a:defRPr sz="4400">
                <a:latin typeface="微软雅黑 (Headings)"/>
                <a:ea typeface="微软雅黑 (Headings)"/>
                <a:cs typeface="微软雅黑 (Headings)"/>
                <a:sym typeface="微软雅黑 (Headings)"/>
              </a:defRPr>
            </a:lvl4pPr>
            <a:lvl5pPr>
              <a:lnSpc>
                <a:spcPct val="90000"/>
              </a:lnSpc>
              <a:defRPr sz="4400">
                <a:latin typeface="微软雅黑 (Headings)"/>
                <a:ea typeface="微软雅黑 (Headings)"/>
                <a:cs typeface="微软雅黑 (Headings)"/>
                <a:sym typeface="微软雅黑 (Headings)"/>
              </a:defRPr>
            </a:lvl5pPr>
            <a:lvl6pPr>
              <a:lnSpc>
                <a:spcPct val="90000"/>
              </a:lnSpc>
              <a:defRPr sz="4400">
                <a:latin typeface="微软雅黑 (Headings)"/>
                <a:ea typeface="微软雅黑 (Headings)"/>
                <a:cs typeface="微软雅黑 (Headings)"/>
                <a:sym typeface="微软雅黑 (Headings)"/>
              </a:defRPr>
            </a:lvl6pPr>
            <a:lvl7pPr>
              <a:lnSpc>
                <a:spcPct val="90000"/>
              </a:lnSpc>
              <a:defRPr sz="4400">
                <a:latin typeface="微软雅黑 (Headings)"/>
                <a:ea typeface="微软雅黑 (Headings)"/>
                <a:cs typeface="微软雅黑 (Headings)"/>
                <a:sym typeface="微软雅黑 (Headings)"/>
              </a:defRPr>
            </a:lvl7pPr>
            <a:lvl8pPr>
              <a:lnSpc>
                <a:spcPct val="90000"/>
              </a:lnSpc>
              <a:defRPr sz="4400">
                <a:latin typeface="微软雅黑 (Headings)"/>
                <a:ea typeface="微软雅黑 (Headings)"/>
                <a:cs typeface="微软雅黑 (Headings)"/>
                <a:sym typeface="微软雅黑 (Headings)"/>
              </a:defRPr>
            </a:lvl8pPr>
            <a:lvl9pPr>
              <a:lnSpc>
                <a:spcPct val="90000"/>
              </a:lnSpc>
              <a:defRPr sz="4400">
                <a:latin typeface="微软雅黑 (Headings)"/>
                <a:ea typeface="微软雅黑 (Headings)"/>
                <a:cs typeface="微软雅黑 (Headings)"/>
                <a:sym typeface="微软雅黑 (Headings)"/>
              </a:defRPr>
            </a:lvl9pPr>
          </a:lstStyle>
          <a:p>
            <a:pPr algn="l">
              <a:defRPr sz="1800"/>
            </a:pPr>
            <a:r>
              <a:rPr lang="zh-CN" altLang="en-US" sz="66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找回密码</a:t>
            </a:r>
            <a:endParaRPr lang="en-US" sz="6600" dirty="0">
              <a:solidFill>
                <a:schemeClr val="tx1">
                  <a:lumMod val="50000"/>
                  <a:lumOff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aphicFrame>
        <p:nvGraphicFramePr>
          <p:cNvPr id="3" name="表格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20700365"/>
              </p:ext>
            </p:extLst>
          </p:nvPr>
        </p:nvGraphicFramePr>
        <p:xfrm>
          <a:off x="3956050" y="2407546"/>
          <a:ext cx="16256000" cy="10165454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8128000">
                  <a:extLst>
                    <a:ext uri="{9D8B030D-6E8A-4147-A177-3AD203B41FA5}">
                      <a16:colId xmlns:a16="http://schemas.microsoft.com/office/drawing/2014/main" val="1693384611"/>
                    </a:ext>
                  </a:extLst>
                </a:gridCol>
                <a:gridCol w="8128000">
                  <a:extLst>
                    <a:ext uri="{9D8B030D-6E8A-4147-A177-3AD203B41FA5}">
                      <a16:colId xmlns:a16="http://schemas.microsoft.com/office/drawing/2014/main" val="3874844653"/>
                    </a:ext>
                  </a:extLst>
                </a:gridCol>
              </a:tblGrid>
              <a:tr h="1103207">
                <a:tc>
                  <a:txBody>
                    <a:bodyPr/>
                    <a:lstStyle/>
                    <a:p>
                      <a:r>
                        <a:rPr lang="zh-CN" altLang="en-US" sz="4400" dirty="0">
                          <a:latin typeface="Adobe 仿宋 Std R" panose="02020400000000000000" pitchFamily="18" charset="-122"/>
                          <a:ea typeface="Adobe 仿宋 Std R" panose="02020400000000000000" pitchFamily="18" charset="-122"/>
                        </a:rPr>
                        <a:t>前台网站系统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altLang="zh-CN" sz="4400" dirty="0">
                          <a:latin typeface="Adobe 仿宋 Std R" panose="02020400000000000000" pitchFamily="18" charset="-122"/>
                          <a:ea typeface="Adobe 仿宋 Std R" panose="02020400000000000000" pitchFamily="18" charset="-122"/>
                        </a:rPr>
                        <a:t>DAM</a:t>
                      </a:r>
                      <a:r>
                        <a:rPr lang="zh-CN" altLang="en-US" sz="4400" dirty="0">
                          <a:latin typeface="Adobe 仿宋 Std R" panose="02020400000000000000" pitchFamily="18" charset="-122"/>
                          <a:ea typeface="Adobe 仿宋 Std R" panose="02020400000000000000" pitchFamily="18" charset="-122"/>
                        </a:rPr>
                        <a:t>管理系统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260608950"/>
                  </a:ext>
                </a:extLst>
              </a:tr>
              <a:tr h="9062247"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5811474"/>
                  </a:ext>
                </a:extLst>
              </a:tr>
            </a:tbl>
          </a:graphicData>
        </a:graphic>
      </p:graphicFrame>
      <p:sp>
        <p:nvSpPr>
          <p:cNvPr id="4" name="矩形: 圆角 3"/>
          <p:cNvSpPr/>
          <p:nvPr/>
        </p:nvSpPr>
        <p:spPr>
          <a:xfrm>
            <a:off x="5644515" y="3820040"/>
            <a:ext cx="3164205" cy="1089865"/>
          </a:xfrm>
          <a:prstGeom prst="roundRect">
            <a:avLst>
              <a:gd name="adj" fmla="val 4598"/>
            </a:avLst>
          </a:prstGeom>
          <a:solidFill>
            <a:srgbClr val="327E99"/>
          </a:solidFill>
          <a:ln w="12700" cap="flat">
            <a:noFill/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zh-CN" altLang="en-US" sz="32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rPr>
              <a:t>找回密码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15170812" y="3846538"/>
            <a:ext cx="3164205" cy="1089865"/>
          </a:xfrm>
          <a:prstGeom prst="roundRect">
            <a:avLst>
              <a:gd name="adj" fmla="val 4598"/>
            </a:avLst>
          </a:prstGeom>
          <a:solidFill>
            <a:srgbClr val="327E99"/>
          </a:solidFill>
          <a:ln w="12700" cap="flat">
            <a:noFill/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zh-CN" altLang="en-US" sz="32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rPr>
              <a:t>验证手机</a:t>
            </a:r>
          </a:p>
        </p:txBody>
      </p:sp>
      <p:cxnSp>
        <p:nvCxnSpPr>
          <p:cNvPr id="6" name="直接箭头连接符 5"/>
          <p:cNvCxnSpPr>
            <a:endCxn id="5" idx="1"/>
          </p:cNvCxnSpPr>
          <p:nvPr/>
        </p:nvCxnSpPr>
        <p:spPr>
          <a:xfrm>
            <a:off x="8869680" y="4391470"/>
            <a:ext cx="6301132" cy="1"/>
          </a:xfrm>
          <a:prstGeom prst="straightConnector1">
            <a:avLst/>
          </a:prstGeom>
          <a:noFill/>
          <a:ln w="38100" cap="flat">
            <a:solidFill>
              <a:srgbClr val="000000"/>
            </a:solidFill>
            <a:prstDash val="solid"/>
            <a:miter lim="400000"/>
            <a:headEnd type="none" w="med" len="med"/>
            <a:tailEnd type="arrow" w="med" len="med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7" name="文本框 6"/>
          <p:cNvSpPr txBox="1"/>
          <p:nvPr/>
        </p:nvSpPr>
        <p:spPr>
          <a:xfrm>
            <a:off x="10150529" y="3782357"/>
            <a:ext cx="1548076" cy="471924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l" defTabSz="8255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zh-CN" altLang="en-US" sz="24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dobe 仿宋 Std R" panose="02020400000000000000" pitchFamily="18" charset="-122"/>
                <a:ea typeface="Adobe 仿宋 Std R" panose="02020400000000000000" pitchFamily="18" charset="-122"/>
                <a:sym typeface="Helvetica Light"/>
              </a:rPr>
              <a:t>手机号码</a:t>
            </a:r>
            <a:endParaRPr kumimoji="0" lang="en-US" altLang="zh-CN" sz="24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dobe 仿宋 Std R" panose="02020400000000000000" pitchFamily="18" charset="-122"/>
              <a:ea typeface="Adobe 仿宋 Std R" panose="02020400000000000000" pitchFamily="18" charset="-122"/>
              <a:sym typeface="Helvetica Light"/>
            </a:endParaRPr>
          </a:p>
        </p:txBody>
      </p:sp>
      <p:sp>
        <p:nvSpPr>
          <p:cNvPr id="8" name="菱形 7"/>
          <p:cNvSpPr/>
          <p:nvPr/>
        </p:nvSpPr>
        <p:spPr>
          <a:xfrm>
            <a:off x="15373045" y="6003607"/>
            <a:ext cx="2759737" cy="1543685"/>
          </a:xfrm>
          <a:prstGeom prst="diamond">
            <a:avLst/>
          </a:prstGeom>
          <a:solidFill>
            <a:srgbClr val="327E99"/>
          </a:solidFill>
          <a:ln w="12700" cap="flat">
            <a:noFill/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  <p:cxnSp>
        <p:nvCxnSpPr>
          <p:cNvPr id="9" name="直接箭头连接符 8"/>
          <p:cNvCxnSpPr>
            <a:endCxn id="8" idx="0"/>
          </p:cNvCxnSpPr>
          <p:nvPr/>
        </p:nvCxnSpPr>
        <p:spPr>
          <a:xfrm>
            <a:off x="16752913" y="4936403"/>
            <a:ext cx="1" cy="1067204"/>
          </a:xfrm>
          <a:prstGeom prst="straightConnector1">
            <a:avLst/>
          </a:prstGeom>
          <a:noFill/>
          <a:ln w="38100" cap="flat">
            <a:solidFill>
              <a:srgbClr val="000000"/>
            </a:solidFill>
            <a:prstDash val="solid"/>
            <a:miter lim="400000"/>
            <a:headEnd type="none" w="med" len="med"/>
            <a:tailEnd type="arrow" w="med" len="med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10" name="直接箭头连接符 9"/>
          <p:cNvCxnSpPr>
            <a:cxnSpLocks/>
            <a:endCxn id="11" idx="3"/>
          </p:cNvCxnSpPr>
          <p:nvPr/>
        </p:nvCxnSpPr>
        <p:spPr>
          <a:xfrm flipH="1" flipV="1">
            <a:off x="8835373" y="6773541"/>
            <a:ext cx="6537672" cy="1912"/>
          </a:xfrm>
          <a:prstGeom prst="straightConnector1">
            <a:avLst/>
          </a:prstGeom>
          <a:noFill/>
          <a:ln w="38100" cap="flat">
            <a:solidFill>
              <a:srgbClr val="000000"/>
            </a:solidFill>
            <a:prstDash val="solid"/>
            <a:miter lim="400000"/>
            <a:headEnd type="none" w="med" len="med"/>
            <a:tailEnd type="arrow" w="med" len="med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1" name="矩形: 圆角 10"/>
          <p:cNvSpPr/>
          <p:nvPr/>
        </p:nvSpPr>
        <p:spPr>
          <a:xfrm>
            <a:off x="5671168" y="6228608"/>
            <a:ext cx="3164205" cy="1089865"/>
          </a:xfrm>
          <a:prstGeom prst="roundRect">
            <a:avLst>
              <a:gd name="adj" fmla="val 4598"/>
            </a:avLst>
          </a:prstGeom>
          <a:solidFill>
            <a:srgbClr val="327E99"/>
          </a:solidFill>
          <a:ln w="12700" cap="flat">
            <a:noFill/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zh-CN" altLang="en-US" sz="32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rPr>
              <a:t>错误提示</a:t>
            </a:r>
          </a:p>
        </p:txBody>
      </p:sp>
      <p:sp>
        <p:nvSpPr>
          <p:cNvPr id="12" name="文本框 11"/>
          <p:cNvSpPr txBox="1"/>
          <p:nvPr/>
        </p:nvSpPr>
        <p:spPr>
          <a:xfrm>
            <a:off x="12422231" y="6089726"/>
            <a:ext cx="2364592" cy="471924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l" defTabSz="8255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zh-CN" altLang="en-US" sz="24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dobe 仿宋 Std R" panose="02020400000000000000" pitchFamily="18" charset="-122"/>
                <a:ea typeface="Adobe 仿宋 Std R" panose="02020400000000000000" pitchFamily="18" charset="-122"/>
                <a:sym typeface="Helvetica Light"/>
              </a:rPr>
              <a:t>手机号码错误</a:t>
            </a:r>
            <a:endParaRPr kumimoji="0" lang="en-US" altLang="zh-CN" sz="24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dobe 仿宋 Std R" panose="02020400000000000000" pitchFamily="18" charset="-122"/>
              <a:ea typeface="Adobe 仿宋 Std R" panose="02020400000000000000" pitchFamily="18" charset="-122"/>
              <a:sym typeface="Helvetica Light"/>
            </a:endParaRPr>
          </a:p>
        </p:txBody>
      </p:sp>
      <p:sp>
        <p:nvSpPr>
          <p:cNvPr id="13" name="矩形: 圆角 12"/>
          <p:cNvSpPr/>
          <p:nvPr/>
        </p:nvSpPr>
        <p:spPr>
          <a:xfrm>
            <a:off x="5616380" y="8637176"/>
            <a:ext cx="3164205" cy="1089865"/>
          </a:xfrm>
          <a:prstGeom prst="roundRect">
            <a:avLst>
              <a:gd name="adj" fmla="val 4598"/>
            </a:avLst>
          </a:prstGeom>
          <a:solidFill>
            <a:srgbClr val="327E99"/>
          </a:solidFill>
          <a:ln w="12700" cap="flat">
            <a:noFill/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zh-CN" altLang="en-US" sz="32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rPr>
              <a:t>手机获取</a:t>
            </a:r>
            <a:endParaRPr kumimoji="0" lang="en-US" altLang="zh-CN" sz="32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  <a:p>
            <a:pPr marL="0" marR="0" indent="0" algn="ctr" defTabSz="8255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zh-CN" altLang="en-US" sz="32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rPr>
              <a:t>验证短信</a:t>
            </a:r>
          </a:p>
        </p:txBody>
      </p:sp>
      <p:cxnSp>
        <p:nvCxnSpPr>
          <p:cNvPr id="14" name="连接符: 肘形 13"/>
          <p:cNvCxnSpPr>
            <a:stCxn id="8" idx="2"/>
            <a:endCxn id="13" idx="3"/>
          </p:cNvCxnSpPr>
          <p:nvPr/>
        </p:nvCxnSpPr>
        <p:spPr>
          <a:xfrm rot="5400000">
            <a:off x="11949342" y="4378536"/>
            <a:ext cx="1634817" cy="7972329"/>
          </a:xfrm>
          <a:prstGeom prst="bentConnector2">
            <a:avLst/>
          </a:prstGeom>
          <a:noFill/>
          <a:ln w="38100" cap="flat">
            <a:solidFill>
              <a:srgbClr val="000000"/>
            </a:solidFill>
            <a:prstDash val="solid"/>
            <a:miter lim="400000"/>
            <a:headEnd type="none" w="med" len="med"/>
            <a:tailEnd type="arrow" w="med" len="med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5" name="文本框 14"/>
          <p:cNvSpPr txBox="1"/>
          <p:nvPr/>
        </p:nvSpPr>
        <p:spPr>
          <a:xfrm>
            <a:off x="12367443" y="8612591"/>
            <a:ext cx="2364592" cy="471924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l" defTabSz="8255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zh-CN" altLang="en-US" sz="24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dobe 仿宋 Std R" panose="02020400000000000000" pitchFamily="18" charset="-122"/>
                <a:ea typeface="Adobe 仿宋 Std R" panose="02020400000000000000" pitchFamily="18" charset="-122"/>
                <a:sym typeface="Helvetica Light"/>
              </a:rPr>
              <a:t>手机验证码</a:t>
            </a:r>
            <a:endParaRPr kumimoji="0" lang="en-US" altLang="zh-CN" sz="24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dobe 仿宋 Std R" panose="02020400000000000000" pitchFamily="18" charset="-122"/>
              <a:ea typeface="Adobe 仿宋 Std R" panose="02020400000000000000" pitchFamily="18" charset="-122"/>
              <a:sym typeface="Helvetica Light"/>
            </a:endParaRPr>
          </a:p>
        </p:txBody>
      </p:sp>
      <p:sp>
        <p:nvSpPr>
          <p:cNvPr id="17" name="矩形: 圆角 16"/>
          <p:cNvSpPr/>
          <p:nvPr/>
        </p:nvSpPr>
        <p:spPr>
          <a:xfrm>
            <a:off x="5616379" y="10594602"/>
            <a:ext cx="3164205" cy="1089865"/>
          </a:xfrm>
          <a:prstGeom prst="roundRect">
            <a:avLst>
              <a:gd name="adj" fmla="val 4598"/>
            </a:avLst>
          </a:prstGeom>
          <a:solidFill>
            <a:srgbClr val="327E99"/>
          </a:solidFill>
          <a:ln w="12700" cap="flat">
            <a:noFill/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zh-CN" altLang="en-US" sz="32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rPr>
              <a:t>设置新密码</a:t>
            </a:r>
          </a:p>
        </p:txBody>
      </p:sp>
      <p:cxnSp>
        <p:nvCxnSpPr>
          <p:cNvPr id="19" name="直接箭头连接符 18"/>
          <p:cNvCxnSpPr>
            <a:endCxn id="17" idx="0"/>
          </p:cNvCxnSpPr>
          <p:nvPr/>
        </p:nvCxnSpPr>
        <p:spPr>
          <a:xfrm>
            <a:off x="7198481" y="9727041"/>
            <a:ext cx="1" cy="867561"/>
          </a:xfrm>
          <a:prstGeom prst="straightConnector1">
            <a:avLst/>
          </a:prstGeom>
          <a:noFill/>
          <a:ln w="38100" cap="flat">
            <a:solidFill>
              <a:srgbClr val="000000"/>
            </a:solidFill>
            <a:prstDash val="solid"/>
            <a:miter lim="400000"/>
            <a:headEnd type="none" w="med" len="med"/>
            <a:tailEnd type="triangle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20" name="矩形: 圆角 19"/>
          <p:cNvSpPr/>
          <p:nvPr/>
        </p:nvSpPr>
        <p:spPr>
          <a:xfrm>
            <a:off x="15170812" y="10594602"/>
            <a:ext cx="3164205" cy="1089865"/>
          </a:xfrm>
          <a:prstGeom prst="roundRect">
            <a:avLst>
              <a:gd name="adj" fmla="val 4598"/>
            </a:avLst>
          </a:prstGeom>
          <a:solidFill>
            <a:srgbClr val="327E99"/>
          </a:solidFill>
          <a:ln w="12700" cap="flat">
            <a:noFill/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zh-CN" altLang="en-US" sz="32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rPr>
              <a:t>设置新密码</a:t>
            </a:r>
          </a:p>
        </p:txBody>
      </p:sp>
      <p:cxnSp>
        <p:nvCxnSpPr>
          <p:cNvPr id="22" name="直接箭头连接符 21"/>
          <p:cNvCxnSpPr>
            <a:endCxn id="20" idx="1"/>
          </p:cNvCxnSpPr>
          <p:nvPr/>
        </p:nvCxnSpPr>
        <p:spPr>
          <a:xfrm>
            <a:off x="8780584" y="11139534"/>
            <a:ext cx="6390228" cy="1"/>
          </a:xfrm>
          <a:prstGeom prst="straightConnector1">
            <a:avLst/>
          </a:prstGeom>
          <a:noFill/>
          <a:ln w="38100" cap="flat">
            <a:solidFill>
              <a:srgbClr val="000000"/>
            </a:solidFill>
            <a:prstDash val="solid"/>
            <a:miter lim="400000"/>
            <a:headEnd type="none" w="med" len="med"/>
            <a:tailEnd type="triangle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23" name="文本框 22"/>
          <p:cNvSpPr txBox="1"/>
          <p:nvPr/>
        </p:nvSpPr>
        <p:spPr>
          <a:xfrm>
            <a:off x="9334013" y="9938012"/>
            <a:ext cx="2364592" cy="841256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l" defTabSz="8255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zh-CN" altLang="en-US" sz="24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dobe 仿宋 Std R" panose="02020400000000000000" pitchFamily="18" charset="-122"/>
                <a:ea typeface="Adobe 仿宋 Std R" panose="02020400000000000000" pitchFamily="18" charset="-122"/>
                <a:sym typeface="Helvetica Light"/>
              </a:rPr>
              <a:t>验证码</a:t>
            </a:r>
            <a:endParaRPr kumimoji="0" lang="en-US" altLang="zh-CN" sz="24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dobe 仿宋 Std R" panose="02020400000000000000" pitchFamily="18" charset="-122"/>
              <a:ea typeface="Adobe 仿宋 Std R" panose="02020400000000000000" pitchFamily="18" charset="-122"/>
              <a:sym typeface="Helvetica Light"/>
            </a:endParaRPr>
          </a:p>
          <a:p>
            <a:pPr marL="0" marR="0" indent="0" algn="l" defTabSz="8255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zh-CN" altLang="en-US" sz="24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dobe 仿宋 Std R" panose="02020400000000000000" pitchFamily="18" charset="-122"/>
                <a:ea typeface="Adobe 仿宋 Std R" panose="02020400000000000000" pitchFamily="18" charset="-122"/>
                <a:sym typeface="Helvetica Light"/>
              </a:rPr>
              <a:t>新密码</a:t>
            </a:r>
            <a:endParaRPr kumimoji="0" lang="en-US" altLang="zh-CN" sz="24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dobe 仿宋 Std R" panose="02020400000000000000" pitchFamily="18" charset="-122"/>
              <a:ea typeface="Adobe 仿宋 Std R" panose="02020400000000000000" pitchFamily="18" charset="-122"/>
              <a:sym typeface="Helvetica Light"/>
            </a:endParaRPr>
          </a:p>
        </p:txBody>
      </p:sp>
    </p:spTree>
    <p:extLst>
      <p:ext uri="{BB962C8B-B14F-4D97-AF65-F5344CB8AC3E}">
        <p14:creationId xmlns:p14="http://schemas.microsoft.com/office/powerpoint/2010/main" val="1239073294"/>
      </p:ext>
    </p:extLst>
  </p:cSld>
  <p:clrMapOvr>
    <a:masterClrMapping/>
  </p:clrMapOvr>
  <p:transition spd="med"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表格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36571392"/>
              </p:ext>
            </p:extLst>
          </p:nvPr>
        </p:nvGraphicFramePr>
        <p:xfrm>
          <a:off x="3956050" y="2407546"/>
          <a:ext cx="16256000" cy="10765529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559925">
                  <a:extLst>
                    <a:ext uri="{9D8B030D-6E8A-4147-A177-3AD203B41FA5}">
                      <a16:colId xmlns:a16="http://schemas.microsoft.com/office/drawing/2014/main" val="1693384611"/>
                    </a:ext>
                  </a:extLst>
                </a:gridCol>
                <a:gridCol w="6696075">
                  <a:extLst>
                    <a:ext uri="{9D8B030D-6E8A-4147-A177-3AD203B41FA5}">
                      <a16:colId xmlns:a16="http://schemas.microsoft.com/office/drawing/2014/main" val="3874844653"/>
                    </a:ext>
                  </a:extLst>
                </a:gridCol>
              </a:tblGrid>
              <a:tr h="1103207">
                <a:tc>
                  <a:txBody>
                    <a:bodyPr/>
                    <a:lstStyle/>
                    <a:p>
                      <a:r>
                        <a:rPr lang="zh-CN" altLang="en-US" sz="4400" dirty="0">
                          <a:latin typeface="Adobe 仿宋 Std R" panose="02020400000000000000" pitchFamily="18" charset="-122"/>
                          <a:ea typeface="Adobe 仿宋 Std R" panose="02020400000000000000" pitchFamily="18" charset="-122"/>
                        </a:rPr>
                        <a:t>前台网站系统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altLang="zh-CN" sz="4400" dirty="0">
                          <a:latin typeface="Adobe 仿宋 Std R" panose="02020400000000000000" pitchFamily="18" charset="-122"/>
                          <a:ea typeface="Adobe 仿宋 Std R" panose="02020400000000000000" pitchFamily="18" charset="-122"/>
                        </a:rPr>
                        <a:t>DAM</a:t>
                      </a:r>
                      <a:r>
                        <a:rPr lang="zh-CN" altLang="en-US" sz="4400" dirty="0">
                          <a:latin typeface="Adobe 仿宋 Std R" panose="02020400000000000000" pitchFamily="18" charset="-122"/>
                          <a:ea typeface="Adobe 仿宋 Std R" panose="02020400000000000000" pitchFamily="18" charset="-122"/>
                        </a:rPr>
                        <a:t>管理系统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260608950"/>
                  </a:ext>
                </a:extLst>
              </a:tr>
              <a:tr h="9662322"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5811474"/>
                  </a:ext>
                </a:extLst>
              </a:tr>
            </a:tbl>
          </a:graphicData>
        </a:graphic>
      </p:graphicFrame>
      <p:sp>
        <p:nvSpPr>
          <p:cNvPr id="3" name="矩形: 圆角 2"/>
          <p:cNvSpPr/>
          <p:nvPr/>
        </p:nvSpPr>
        <p:spPr>
          <a:xfrm>
            <a:off x="8759190" y="3820040"/>
            <a:ext cx="3164205" cy="1089865"/>
          </a:xfrm>
          <a:prstGeom prst="roundRect">
            <a:avLst>
              <a:gd name="adj" fmla="val 4598"/>
            </a:avLst>
          </a:prstGeom>
          <a:solidFill>
            <a:srgbClr val="327E99"/>
          </a:solidFill>
          <a:ln w="12700" cap="flat">
            <a:noFill/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zh-CN" altLang="en-US" sz="32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rPr>
              <a:t>用户登录</a:t>
            </a:r>
          </a:p>
        </p:txBody>
      </p:sp>
      <p:sp>
        <p:nvSpPr>
          <p:cNvPr id="4" name="矩形: 圆角 3"/>
          <p:cNvSpPr/>
          <p:nvPr/>
        </p:nvSpPr>
        <p:spPr>
          <a:xfrm>
            <a:off x="15170810" y="3820039"/>
            <a:ext cx="3164205" cy="1089865"/>
          </a:xfrm>
          <a:prstGeom prst="roundRect">
            <a:avLst>
              <a:gd name="adj" fmla="val 4598"/>
            </a:avLst>
          </a:prstGeom>
          <a:solidFill>
            <a:srgbClr val="327E99"/>
          </a:solidFill>
          <a:ln w="12700" cap="flat">
            <a:noFill/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zh-CN" altLang="en-US" sz="32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rPr>
              <a:t>登录鉴权</a:t>
            </a:r>
          </a:p>
        </p:txBody>
      </p:sp>
      <p:cxnSp>
        <p:nvCxnSpPr>
          <p:cNvPr id="5" name="直接箭头连接符 4"/>
          <p:cNvCxnSpPr>
            <a:cxnSpLocks/>
            <a:stCxn id="3" idx="3"/>
            <a:endCxn id="4" idx="1"/>
          </p:cNvCxnSpPr>
          <p:nvPr/>
        </p:nvCxnSpPr>
        <p:spPr>
          <a:xfrm flipV="1">
            <a:off x="11923395" y="4364972"/>
            <a:ext cx="3247415" cy="1"/>
          </a:xfrm>
          <a:prstGeom prst="straightConnector1">
            <a:avLst/>
          </a:prstGeom>
          <a:noFill/>
          <a:ln w="38100" cap="flat">
            <a:solidFill>
              <a:srgbClr val="000000"/>
            </a:solidFill>
            <a:prstDash val="solid"/>
            <a:miter lim="400000"/>
            <a:headEnd type="none" w="med" len="med"/>
            <a:tailEnd type="arrow" w="med" len="med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6" name="文本框 5"/>
          <p:cNvSpPr txBox="1"/>
          <p:nvPr/>
        </p:nvSpPr>
        <p:spPr>
          <a:xfrm>
            <a:off x="12065054" y="3782357"/>
            <a:ext cx="1548076" cy="471924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l" defTabSz="8255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zh-CN" altLang="en-US" sz="24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dobe 仿宋 Std R" panose="02020400000000000000" pitchFamily="18" charset="-122"/>
                <a:ea typeface="Adobe 仿宋 Std R" panose="02020400000000000000" pitchFamily="18" charset="-122"/>
                <a:sym typeface="Helvetica Light"/>
              </a:rPr>
              <a:t>手机号码</a:t>
            </a:r>
            <a:endParaRPr kumimoji="0" lang="en-US" altLang="zh-CN" sz="24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dobe 仿宋 Std R" panose="02020400000000000000" pitchFamily="18" charset="-122"/>
              <a:ea typeface="Adobe 仿宋 Std R" panose="02020400000000000000" pitchFamily="18" charset="-122"/>
              <a:sym typeface="Helvetica Light"/>
            </a:endParaRPr>
          </a:p>
        </p:txBody>
      </p:sp>
      <p:sp>
        <p:nvSpPr>
          <p:cNvPr id="10" name="矩形: 圆角 9"/>
          <p:cNvSpPr/>
          <p:nvPr/>
        </p:nvSpPr>
        <p:spPr>
          <a:xfrm>
            <a:off x="8759189" y="5485658"/>
            <a:ext cx="3164205" cy="1089865"/>
          </a:xfrm>
          <a:prstGeom prst="roundRect">
            <a:avLst>
              <a:gd name="adj" fmla="val 4598"/>
            </a:avLst>
          </a:prstGeom>
          <a:solidFill>
            <a:srgbClr val="327E99"/>
          </a:solidFill>
          <a:ln w="12700" cap="flat">
            <a:noFill/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zh-CN" altLang="en-US" sz="32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rPr>
              <a:t>登录成功</a:t>
            </a:r>
          </a:p>
        </p:txBody>
      </p:sp>
      <p:sp>
        <p:nvSpPr>
          <p:cNvPr id="20" name="Shape 73"/>
          <p:cNvSpPr txBox="1">
            <a:spLocks/>
          </p:cNvSpPr>
          <p:nvPr/>
        </p:nvSpPr>
        <p:spPr>
          <a:xfrm>
            <a:off x="369192" y="543910"/>
            <a:ext cx="16383723" cy="186363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91438" rIns="91438" anchor="ctr">
            <a:normAutofit/>
          </a:bodyPr>
          <a:lstStyle>
            <a:lvl1pPr algn="ctr">
              <a:lnSpc>
                <a:spcPct val="90000"/>
              </a:lnSpc>
              <a:defRPr sz="6000">
                <a:latin typeface="Microsoft YaHei"/>
                <a:ea typeface="Microsoft YaHei"/>
                <a:cs typeface="Microsoft YaHei"/>
                <a:sym typeface="Microsoft YaHei"/>
              </a:defRPr>
            </a:lvl1pPr>
            <a:lvl2pPr>
              <a:lnSpc>
                <a:spcPct val="90000"/>
              </a:lnSpc>
              <a:defRPr sz="4400">
                <a:latin typeface="微软雅黑 (Headings)"/>
                <a:ea typeface="微软雅黑 (Headings)"/>
                <a:cs typeface="微软雅黑 (Headings)"/>
                <a:sym typeface="微软雅黑 (Headings)"/>
              </a:defRPr>
            </a:lvl2pPr>
            <a:lvl3pPr>
              <a:lnSpc>
                <a:spcPct val="90000"/>
              </a:lnSpc>
              <a:defRPr sz="4400">
                <a:latin typeface="微软雅黑 (Headings)"/>
                <a:ea typeface="微软雅黑 (Headings)"/>
                <a:cs typeface="微软雅黑 (Headings)"/>
                <a:sym typeface="微软雅黑 (Headings)"/>
              </a:defRPr>
            </a:lvl3pPr>
            <a:lvl4pPr>
              <a:lnSpc>
                <a:spcPct val="90000"/>
              </a:lnSpc>
              <a:defRPr sz="4400">
                <a:latin typeface="微软雅黑 (Headings)"/>
                <a:ea typeface="微软雅黑 (Headings)"/>
                <a:cs typeface="微软雅黑 (Headings)"/>
                <a:sym typeface="微软雅黑 (Headings)"/>
              </a:defRPr>
            </a:lvl4pPr>
            <a:lvl5pPr>
              <a:lnSpc>
                <a:spcPct val="90000"/>
              </a:lnSpc>
              <a:defRPr sz="4400">
                <a:latin typeface="微软雅黑 (Headings)"/>
                <a:ea typeface="微软雅黑 (Headings)"/>
                <a:cs typeface="微软雅黑 (Headings)"/>
                <a:sym typeface="微软雅黑 (Headings)"/>
              </a:defRPr>
            </a:lvl5pPr>
            <a:lvl6pPr>
              <a:lnSpc>
                <a:spcPct val="90000"/>
              </a:lnSpc>
              <a:defRPr sz="4400">
                <a:latin typeface="微软雅黑 (Headings)"/>
                <a:ea typeface="微软雅黑 (Headings)"/>
                <a:cs typeface="微软雅黑 (Headings)"/>
                <a:sym typeface="微软雅黑 (Headings)"/>
              </a:defRPr>
            </a:lvl6pPr>
            <a:lvl7pPr>
              <a:lnSpc>
                <a:spcPct val="90000"/>
              </a:lnSpc>
              <a:defRPr sz="4400">
                <a:latin typeface="微软雅黑 (Headings)"/>
                <a:ea typeface="微软雅黑 (Headings)"/>
                <a:cs typeface="微软雅黑 (Headings)"/>
                <a:sym typeface="微软雅黑 (Headings)"/>
              </a:defRPr>
            </a:lvl7pPr>
            <a:lvl8pPr>
              <a:lnSpc>
                <a:spcPct val="90000"/>
              </a:lnSpc>
              <a:defRPr sz="4400">
                <a:latin typeface="微软雅黑 (Headings)"/>
                <a:ea typeface="微软雅黑 (Headings)"/>
                <a:cs typeface="微软雅黑 (Headings)"/>
                <a:sym typeface="微软雅黑 (Headings)"/>
              </a:defRPr>
            </a:lvl8pPr>
            <a:lvl9pPr>
              <a:lnSpc>
                <a:spcPct val="90000"/>
              </a:lnSpc>
              <a:defRPr sz="4400">
                <a:latin typeface="微软雅黑 (Headings)"/>
                <a:ea typeface="微软雅黑 (Headings)"/>
                <a:cs typeface="微软雅黑 (Headings)"/>
                <a:sym typeface="微软雅黑 (Headings)"/>
              </a:defRPr>
            </a:lvl9pPr>
          </a:lstStyle>
          <a:p>
            <a:pPr algn="l">
              <a:defRPr sz="1800"/>
            </a:pPr>
            <a:r>
              <a:rPr lang="zh-CN" altLang="en-US" sz="66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资源库权限，资源</a:t>
            </a:r>
            <a:r>
              <a:rPr lang="en-US" altLang="zh-CN" sz="66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URL</a:t>
            </a:r>
            <a:endParaRPr lang="en-US" sz="6600" dirty="0">
              <a:solidFill>
                <a:schemeClr val="tx1">
                  <a:lumMod val="50000"/>
                  <a:lumOff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22" name="连接符: 肘形 21"/>
          <p:cNvCxnSpPr>
            <a:cxnSpLocks/>
            <a:stCxn id="4" idx="2"/>
            <a:endCxn id="10" idx="3"/>
          </p:cNvCxnSpPr>
          <p:nvPr/>
        </p:nvCxnSpPr>
        <p:spPr>
          <a:xfrm rot="5400000">
            <a:off x="13777811" y="3055488"/>
            <a:ext cx="1120687" cy="4829519"/>
          </a:xfrm>
          <a:prstGeom prst="bentConnector2">
            <a:avLst/>
          </a:prstGeom>
          <a:noFill/>
          <a:ln w="38100" cap="flat">
            <a:solidFill>
              <a:srgbClr val="000000"/>
            </a:solidFill>
            <a:prstDash val="solid"/>
            <a:miter lim="400000"/>
            <a:headEnd type="none" w="med" len="med"/>
            <a:tailEnd type="triangle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23" name="矩形: 圆角 22"/>
          <p:cNvSpPr/>
          <p:nvPr/>
        </p:nvSpPr>
        <p:spPr>
          <a:xfrm>
            <a:off x="15170810" y="7159971"/>
            <a:ext cx="3164205" cy="1089865"/>
          </a:xfrm>
          <a:prstGeom prst="roundRect">
            <a:avLst>
              <a:gd name="adj" fmla="val 4598"/>
            </a:avLst>
          </a:prstGeom>
          <a:solidFill>
            <a:srgbClr val="327E99"/>
          </a:solidFill>
          <a:ln w="12700" cap="flat">
            <a:noFill/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zh-CN" altLang="en-US" sz="32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rPr>
              <a:t>预览图</a:t>
            </a:r>
            <a:r>
              <a:rPr kumimoji="0" lang="en-US" altLang="zh-CN" sz="32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rPr>
              <a:t>/</a:t>
            </a:r>
            <a:r>
              <a:rPr kumimoji="0" lang="zh-CN" altLang="en-US" sz="32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rPr>
              <a:t>中图</a:t>
            </a:r>
          </a:p>
        </p:txBody>
      </p:sp>
      <p:sp>
        <p:nvSpPr>
          <p:cNvPr id="24" name="矩形: 圆角 23"/>
          <p:cNvSpPr/>
          <p:nvPr/>
        </p:nvSpPr>
        <p:spPr>
          <a:xfrm>
            <a:off x="4672964" y="7154620"/>
            <a:ext cx="3164205" cy="1089865"/>
          </a:xfrm>
          <a:prstGeom prst="roundRect">
            <a:avLst>
              <a:gd name="adj" fmla="val 4598"/>
            </a:avLst>
          </a:prstGeom>
          <a:solidFill>
            <a:srgbClr val="327E99"/>
          </a:solidFill>
          <a:ln w="12700" cap="flat">
            <a:noFill/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zh-CN" altLang="en-US" sz="32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rPr>
              <a:t>预览</a:t>
            </a:r>
          </a:p>
        </p:txBody>
      </p:sp>
      <p:sp>
        <p:nvSpPr>
          <p:cNvPr id="51" name="文本框 50"/>
          <p:cNvSpPr txBox="1"/>
          <p:nvPr/>
        </p:nvSpPr>
        <p:spPr>
          <a:xfrm>
            <a:off x="14149477" y="5472411"/>
            <a:ext cx="2364592" cy="471924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l" defTabSz="8255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zh-CN" altLang="en-US" sz="24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dobe 仿宋 Std R" panose="02020400000000000000" pitchFamily="18" charset="-122"/>
                <a:ea typeface="Adobe 仿宋 Std R" panose="02020400000000000000" pitchFamily="18" charset="-122"/>
                <a:sym typeface="Helvetica Light"/>
              </a:rPr>
              <a:t>用户权限</a:t>
            </a:r>
            <a:endParaRPr kumimoji="0" lang="en-US" altLang="zh-CN" sz="24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dobe 仿宋 Std R" panose="02020400000000000000" pitchFamily="18" charset="-122"/>
              <a:ea typeface="Adobe 仿宋 Std R" panose="02020400000000000000" pitchFamily="18" charset="-122"/>
              <a:sym typeface="Helvetica Light"/>
            </a:endParaRPr>
          </a:p>
        </p:txBody>
      </p:sp>
      <p:sp>
        <p:nvSpPr>
          <p:cNvPr id="53" name="文本框 52"/>
          <p:cNvSpPr txBox="1"/>
          <p:nvPr/>
        </p:nvSpPr>
        <p:spPr>
          <a:xfrm>
            <a:off x="13858875" y="7175548"/>
            <a:ext cx="1347300" cy="471924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l" defTabSz="8255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altLang="zh-CN" sz="24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dobe 仿宋 Std R" panose="02020400000000000000" pitchFamily="18" charset="-122"/>
                <a:ea typeface="Adobe 仿宋 Std R" panose="02020400000000000000" pitchFamily="18" charset="-122"/>
                <a:sym typeface="Helvetica Light"/>
              </a:rPr>
              <a:t>URL</a:t>
            </a:r>
          </a:p>
        </p:txBody>
      </p:sp>
      <p:sp>
        <p:nvSpPr>
          <p:cNvPr id="72" name="矩形: 圆角 71"/>
          <p:cNvSpPr/>
          <p:nvPr/>
        </p:nvSpPr>
        <p:spPr>
          <a:xfrm>
            <a:off x="4672964" y="8937252"/>
            <a:ext cx="3164205" cy="1089865"/>
          </a:xfrm>
          <a:prstGeom prst="roundRect">
            <a:avLst>
              <a:gd name="adj" fmla="val 4598"/>
            </a:avLst>
          </a:prstGeom>
          <a:solidFill>
            <a:srgbClr val="327E99"/>
          </a:solidFill>
          <a:ln w="12700" cap="flat">
            <a:noFill/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zh-CN" altLang="en-US" sz="32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rPr>
              <a:t>下载请求</a:t>
            </a:r>
          </a:p>
        </p:txBody>
      </p:sp>
      <p:sp>
        <p:nvSpPr>
          <p:cNvPr id="75" name="矩形: 圆角 74"/>
          <p:cNvSpPr/>
          <p:nvPr/>
        </p:nvSpPr>
        <p:spPr>
          <a:xfrm>
            <a:off x="15170810" y="8937251"/>
            <a:ext cx="3164205" cy="1089865"/>
          </a:xfrm>
          <a:prstGeom prst="roundRect">
            <a:avLst>
              <a:gd name="adj" fmla="val 4598"/>
            </a:avLst>
          </a:prstGeom>
          <a:solidFill>
            <a:srgbClr val="327E99"/>
          </a:solidFill>
          <a:ln w="12700" cap="flat">
            <a:noFill/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zh-CN" altLang="en-US" sz="32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rPr>
              <a:t>下载权限复核</a:t>
            </a:r>
          </a:p>
        </p:txBody>
      </p:sp>
      <p:cxnSp>
        <p:nvCxnSpPr>
          <p:cNvPr id="77" name="直接箭头连接符 76"/>
          <p:cNvCxnSpPr/>
          <p:nvPr/>
        </p:nvCxnSpPr>
        <p:spPr>
          <a:xfrm>
            <a:off x="7837169" y="9482183"/>
            <a:ext cx="7333641" cy="0"/>
          </a:xfrm>
          <a:prstGeom prst="straightConnector1">
            <a:avLst/>
          </a:prstGeom>
          <a:noFill/>
          <a:ln w="38100" cap="flat">
            <a:solidFill>
              <a:srgbClr val="000000"/>
            </a:solidFill>
            <a:prstDash val="solid"/>
            <a:miter lim="400000"/>
            <a:headEnd type="none" w="med" len="med"/>
            <a:tailEnd type="triangle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80" name="矩形: 圆角 79"/>
          <p:cNvSpPr/>
          <p:nvPr/>
        </p:nvSpPr>
        <p:spPr>
          <a:xfrm>
            <a:off x="8759189" y="7160940"/>
            <a:ext cx="3164205" cy="1089865"/>
          </a:xfrm>
          <a:prstGeom prst="roundRect">
            <a:avLst>
              <a:gd name="adj" fmla="val 4598"/>
            </a:avLst>
          </a:prstGeom>
          <a:solidFill>
            <a:srgbClr val="327E99"/>
          </a:solidFill>
          <a:ln w="12700" cap="flat">
            <a:noFill/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zh-CN" altLang="en-US" sz="32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rPr>
              <a:t>权限判定</a:t>
            </a:r>
          </a:p>
        </p:txBody>
      </p:sp>
      <p:cxnSp>
        <p:nvCxnSpPr>
          <p:cNvPr id="86" name="连接符: 肘形 85"/>
          <p:cNvCxnSpPr>
            <a:stCxn id="10" idx="1"/>
            <a:endCxn id="24" idx="0"/>
          </p:cNvCxnSpPr>
          <p:nvPr/>
        </p:nvCxnSpPr>
        <p:spPr>
          <a:xfrm rot="10800000" flipV="1">
            <a:off x="6255067" y="6030590"/>
            <a:ext cx="2504122" cy="1124029"/>
          </a:xfrm>
          <a:prstGeom prst="bentConnector2">
            <a:avLst/>
          </a:prstGeom>
          <a:noFill/>
          <a:ln w="38100" cap="flat">
            <a:solidFill>
              <a:srgbClr val="000000"/>
            </a:solidFill>
            <a:prstDash val="solid"/>
            <a:miter lim="400000"/>
            <a:headEnd type="none" w="med" len="med"/>
            <a:tailEnd type="triangle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88" name="直接箭头连接符 87"/>
          <p:cNvCxnSpPr>
            <a:cxnSpLocks/>
            <a:stCxn id="23" idx="1"/>
            <a:endCxn id="80" idx="3"/>
          </p:cNvCxnSpPr>
          <p:nvPr/>
        </p:nvCxnSpPr>
        <p:spPr>
          <a:xfrm flipH="1">
            <a:off x="11923394" y="7704904"/>
            <a:ext cx="3247416" cy="969"/>
          </a:xfrm>
          <a:prstGeom prst="straightConnector1">
            <a:avLst/>
          </a:prstGeom>
          <a:noFill/>
          <a:ln w="38100" cap="flat">
            <a:solidFill>
              <a:srgbClr val="000000"/>
            </a:solidFill>
            <a:prstDash val="solid"/>
            <a:miter lim="400000"/>
            <a:headEnd type="none" w="med" len="med"/>
            <a:tailEnd type="triangle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91" name="直接箭头连接符 90"/>
          <p:cNvCxnSpPr>
            <a:endCxn id="24" idx="3"/>
          </p:cNvCxnSpPr>
          <p:nvPr/>
        </p:nvCxnSpPr>
        <p:spPr>
          <a:xfrm flipH="1" flipV="1">
            <a:off x="7837169" y="7699553"/>
            <a:ext cx="922020" cy="5351"/>
          </a:xfrm>
          <a:prstGeom prst="straightConnector1">
            <a:avLst/>
          </a:prstGeom>
          <a:noFill/>
          <a:ln w="38100" cap="flat">
            <a:solidFill>
              <a:srgbClr val="000000"/>
            </a:solidFill>
            <a:prstDash val="solid"/>
            <a:miter lim="400000"/>
            <a:headEnd type="none" w="med" len="med"/>
            <a:tailEnd type="triangle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93" name="直接箭头连接符 92"/>
          <p:cNvCxnSpPr>
            <a:cxnSpLocks/>
            <a:stCxn id="10" idx="2"/>
            <a:endCxn id="80" idx="0"/>
          </p:cNvCxnSpPr>
          <p:nvPr/>
        </p:nvCxnSpPr>
        <p:spPr>
          <a:xfrm>
            <a:off x="10341292" y="6575523"/>
            <a:ext cx="0" cy="585417"/>
          </a:xfrm>
          <a:prstGeom prst="straightConnector1">
            <a:avLst/>
          </a:prstGeom>
          <a:noFill/>
          <a:ln w="38100" cap="flat">
            <a:solidFill>
              <a:srgbClr val="000000"/>
            </a:solidFill>
            <a:prstDash val="solid"/>
            <a:miter lim="400000"/>
            <a:headEnd type="none" w="med" len="med"/>
            <a:tailEnd type="triangle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101" name="直接箭头连接符 100"/>
          <p:cNvCxnSpPr>
            <a:endCxn id="72" idx="0"/>
          </p:cNvCxnSpPr>
          <p:nvPr/>
        </p:nvCxnSpPr>
        <p:spPr>
          <a:xfrm>
            <a:off x="6255067" y="8244485"/>
            <a:ext cx="0" cy="692767"/>
          </a:xfrm>
          <a:prstGeom prst="straightConnector1">
            <a:avLst/>
          </a:prstGeom>
          <a:noFill/>
          <a:ln w="38100" cap="flat">
            <a:solidFill>
              <a:srgbClr val="000000"/>
            </a:solidFill>
            <a:prstDash val="solid"/>
            <a:miter lim="400000"/>
            <a:headEnd type="none" w="med" len="med"/>
            <a:tailEnd type="triangle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02" name="菱形 101"/>
          <p:cNvSpPr/>
          <p:nvPr/>
        </p:nvSpPr>
        <p:spPr>
          <a:xfrm>
            <a:off x="15373043" y="10399124"/>
            <a:ext cx="2759737" cy="1543685"/>
          </a:xfrm>
          <a:prstGeom prst="diamond">
            <a:avLst/>
          </a:prstGeom>
          <a:solidFill>
            <a:srgbClr val="327E99"/>
          </a:solidFill>
          <a:ln w="12700" cap="flat">
            <a:noFill/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103" name="矩形: 圆角 102"/>
          <p:cNvSpPr/>
          <p:nvPr/>
        </p:nvSpPr>
        <p:spPr>
          <a:xfrm>
            <a:off x="4672964" y="10630423"/>
            <a:ext cx="3164205" cy="1089865"/>
          </a:xfrm>
          <a:prstGeom prst="roundRect">
            <a:avLst>
              <a:gd name="adj" fmla="val 4598"/>
            </a:avLst>
          </a:prstGeom>
          <a:solidFill>
            <a:srgbClr val="327E99"/>
          </a:solidFill>
          <a:ln w="12700" cap="flat">
            <a:noFill/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zh-CN" altLang="en-US" sz="32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rPr>
              <a:t>下载请求</a:t>
            </a:r>
          </a:p>
        </p:txBody>
      </p:sp>
      <p:cxnSp>
        <p:nvCxnSpPr>
          <p:cNvPr id="105" name="直接箭头连接符 104"/>
          <p:cNvCxnSpPr>
            <a:cxnSpLocks/>
            <a:stCxn id="102" idx="1"/>
            <a:endCxn id="103" idx="3"/>
          </p:cNvCxnSpPr>
          <p:nvPr/>
        </p:nvCxnSpPr>
        <p:spPr>
          <a:xfrm flipH="1">
            <a:off x="7837169" y="11170967"/>
            <a:ext cx="7535874" cy="4389"/>
          </a:xfrm>
          <a:prstGeom prst="straightConnector1">
            <a:avLst/>
          </a:prstGeom>
          <a:noFill/>
          <a:ln w="38100" cap="flat">
            <a:solidFill>
              <a:srgbClr val="000000"/>
            </a:solidFill>
            <a:prstDash val="solid"/>
            <a:miter lim="400000"/>
            <a:headEnd type="none" w="med" len="med"/>
            <a:tailEnd type="triangle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109" name="直接箭头连接符 108"/>
          <p:cNvCxnSpPr>
            <a:stCxn id="75" idx="2"/>
            <a:endCxn id="102" idx="0"/>
          </p:cNvCxnSpPr>
          <p:nvPr/>
        </p:nvCxnSpPr>
        <p:spPr>
          <a:xfrm flipH="1">
            <a:off x="16752912" y="10027116"/>
            <a:ext cx="1" cy="372008"/>
          </a:xfrm>
          <a:prstGeom prst="straightConnector1">
            <a:avLst/>
          </a:prstGeom>
          <a:noFill/>
          <a:ln w="38100" cap="flat">
            <a:solidFill>
              <a:srgbClr val="000000"/>
            </a:solidFill>
            <a:prstDash val="solid"/>
            <a:miter lim="400000"/>
            <a:headEnd type="none" w="med" len="med"/>
            <a:tailEnd type="triangle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10" name="文本框 109"/>
          <p:cNvSpPr txBox="1"/>
          <p:nvPr/>
        </p:nvSpPr>
        <p:spPr>
          <a:xfrm>
            <a:off x="13823510" y="10626034"/>
            <a:ext cx="1347300" cy="471924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l" defTabSz="8255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altLang="zh-CN" sz="24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dobe 仿宋 Std R" panose="02020400000000000000" pitchFamily="18" charset="-122"/>
                <a:ea typeface="Adobe 仿宋 Std R" panose="02020400000000000000" pitchFamily="18" charset="-122"/>
                <a:sym typeface="Helvetica Light"/>
              </a:rPr>
              <a:t>URL</a:t>
            </a:r>
          </a:p>
        </p:txBody>
      </p:sp>
      <p:sp>
        <p:nvSpPr>
          <p:cNvPr id="111" name="矩形: 圆角 110"/>
          <p:cNvSpPr/>
          <p:nvPr/>
        </p:nvSpPr>
        <p:spPr>
          <a:xfrm>
            <a:off x="8759189" y="11922004"/>
            <a:ext cx="3164205" cy="1089865"/>
          </a:xfrm>
          <a:prstGeom prst="roundRect">
            <a:avLst>
              <a:gd name="adj" fmla="val 4598"/>
            </a:avLst>
          </a:prstGeom>
          <a:solidFill>
            <a:srgbClr val="327E99"/>
          </a:solidFill>
          <a:ln w="12700" cap="flat">
            <a:noFill/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zh-CN" altLang="en-US" sz="32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rPr>
              <a:t>无权限提示</a:t>
            </a:r>
          </a:p>
        </p:txBody>
      </p:sp>
      <p:cxnSp>
        <p:nvCxnSpPr>
          <p:cNvPr id="113" name="连接符: 肘形 112"/>
          <p:cNvCxnSpPr>
            <a:stCxn id="102" idx="2"/>
            <a:endCxn id="111" idx="3"/>
          </p:cNvCxnSpPr>
          <p:nvPr/>
        </p:nvCxnSpPr>
        <p:spPr>
          <a:xfrm rot="5400000">
            <a:off x="14076089" y="9790114"/>
            <a:ext cx="524128" cy="4829518"/>
          </a:xfrm>
          <a:prstGeom prst="bentConnector2">
            <a:avLst/>
          </a:prstGeom>
          <a:noFill/>
          <a:ln w="38100" cap="flat">
            <a:solidFill>
              <a:srgbClr val="000000"/>
            </a:solidFill>
            <a:prstDash val="solid"/>
            <a:miter lim="400000"/>
            <a:headEnd type="none" w="med" len="med"/>
            <a:tailEnd type="triangle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14" name="文本框 113"/>
          <p:cNvSpPr txBox="1"/>
          <p:nvPr/>
        </p:nvSpPr>
        <p:spPr>
          <a:xfrm>
            <a:off x="13823510" y="11985180"/>
            <a:ext cx="1347300" cy="471924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l" defTabSz="8255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zh-CN" altLang="en-US" sz="24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dobe 仿宋 Std R" panose="02020400000000000000" pitchFamily="18" charset="-122"/>
                <a:ea typeface="Adobe 仿宋 Std R" panose="02020400000000000000" pitchFamily="18" charset="-122"/>
                <a:sym typeface="Helvetica Light"/>
              </a:rPr>
              <a:t>无权限</a:t>
            </a:r>
            <a:endParaRPr kumimoji="0" lang="en-US" altLang="zh-CN" sz="24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dobe 仿宋 Std R" panose="02020400000000000000" pitchFamily="18" charset="-122"/>
              <a:ea typeface="Adobe 仿宋 Std R" panose="02020400000000000000" pitchFamily="18" charset="-122"/>
              <a:sym typeface="Helvetica Light"/>
            </a:endParaRPr>
          </a:p>
        </p:txBody>
      </p:sp>
    </p:spTree>
    <p:extLst>
      <p:ext uri="{BB962C8B-B14F-4D97-AF65-F5344CB8AC3E}">
        <p14:creationId xmlns:p14="http://schemas.microsoft.com/office/powerpoint/2010/main" val="684229275"/>
      </p:ext>
    </p:extLst>
  </p:cSld>
  <p:clrMapOvr>
    <a:masterClrMapping/>
  </p:clrMapOvr>
  <p:transition spd="med"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表格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70864728"/>
              </p:ext>
            </p:extLst>
          </p:nvPr>
        </p:nvGraphicFramePr>
        <p:xfrm>
          <a:off x="3956050" y="2407546"/>
          <a:ext cx="16256000" cy="10165454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8128000">
                  <a:extLst>
                    <a:ext uri="{9D8B030D-6E8A-4147-A177-3AD203B41FA5}">
                      <a16:colId xmlns:a16="http://schemas.microsoft.com/office/drawing/2014/main" val="1693384611"/>
                    </a:ext>
                  </a:extLst>
                </a:gridCol>
                <a:gridCol w="8128000">
                  <a:extLst>
                    <a:ext uri="{9D8B030D-6E8A-4147-A177-3AD203B41FA5}">
                      <a16:colId xmlns:a16="http://schemas.microsoft.com/office/drawing/2014/main" val="3874844653"/>
                    </a:ext>
                  </a:extLst>
                </a:gridCol>
              </a:tblGrid>
              <a:tr h="1103207">
                <a:tc>
                  <a:txBody>
                    <a:bodyPr/>
                    <a:lstStyle/>
                    <a:p>
                      <a:r>
                        <a:rPr lang="zh-CN" altLang="en-US" sz="4400" dirty="0">
                          <a:latin typeface="Adobe 仿宋 Std R" panose="02020400000000000000" pitchFamily="18" charset="-122"/>
                          <a:ea typeface="Adobe 仿宋 Std R" panose="02020400000000000000" pitchFamily="18" charset="-122"/>
                        </a:rPr>
                        <a:t>前台网站系统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altLang="zh-CN" sz="4400" dirty="0">
                          <a:latin typeface="Adobe 仿宋 Std R" panose="02020400000000000000" pitchFamily="18" charset="-122"/>
                          <a:ea typeface="Adobe 仿宋 Std R" panose="02020400000000000000" pitchFamily="18" charset="-122"/>
                        </a:rPr>
                        <a:t>DAM</a:t>
                      </a:r>
                      <a:r>
                        <a:rPr lang="zh-CN" altLang="en-US" sz="4400" dirty="0">
                          <a:latin typeface="Adobe 仿宋 Std R" panose="02020400000000000000" pitchFamily="18" charset="-122"/>
                          <a:ea typeface="Adobe 仿宋 Std R" panose="02020400000000000000" pitchFamily="18" charset="-122"/>
                        </a:rPr>
                        <a:t>管理系统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260608950"/>
                  </a:ext>
                </a:extLst>
              </a:tr>
              <a:tr h="9062247"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5811474"/>
                  </a:ext>
                </a:extLst>
              </a:tr>
            </a:tbl>
          </a:graphicData>
        </a:graphic>
      </p:graphicFrame>
      <p:sp>
        <p:nvSpPr>
          <p:cNvPr id="3" name="矩形: 圆角 2"/>
          <p:cNvSpPr/>
          <p:nvPr/>
        </p:nvSpPr>
        <p:spPr>
          <a:xfrm>
            <a:off x="5644515" y="3820040"/>
            <a:ext cx="3164205" cy="1089865"/>
          </a:xfrm>
          <a:prstGeom prst="roundRect">
            <a:avLst>
              <a:gd name="adj" fmla="val 4598"/>
            </a:avLst>
          </a:prstGeom>
          <a:solidFill>
            <a:srgbClr val="327E99"/>
          </a:solidFill>
          <a:ln w="12700" cap="flat">
            <a:noFill/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zh-CN" altLang="en-US" sz="32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rPr>
              <a:t>获取目录结构</a:t>
            </a:r>
          </a:p>
        </p:txBody>
      </p:sp>
      <p:sp>
        <p:nvSpPr>
          <p:cNvPr id="4" name="矩形: 圆角 3"/>
          <p:cNvSpPr/>
          <p:nvPr/>
        </p:nvSpPr>
        <p:spPr>
          <a:xfrm>
            <a:off x="15170812" y="3846538"/>
            <a:ext cx="3164205" cy="1089865"/>
          </a:xfrm>
          <a:prstGeom prst="roundRect">
            <a:avLst>
              <a:gd name="adj" fmla="val 4598"/>
            </a:avLst>
          </a:prstGeom>
          <a:solidFill>
            <a:srgbClr val="327E99"/>
          </a:solidFill>
          <a:ln w="12700" cap="flat">
            <a:noFill/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  <p:cxnSp>
        <p:nvCxnSpPr>
          <p:cNvPr id="5" name="直接箭头连接符 4"/>
          <p:cNvCxnSpPr>
            <a:endCxn id="4" idx="1"/>
          </p:cNvCxnSpPr>
          <p:nvPr/>
        </p:nvCxnSpPr>
        <p:spPr>
          <a:xfrm>
            <a:off x="8869680" y="4391470"/>
            <a:ext cx="6301132" cy="1"/>
          </a:xfrm>
          <a:prstGeom prst="straightConnector1">
            <a:avLst/>
          </a:prstGeom>
          <a:noFill/>
          <a:ln w="38100" cap="flat">
            <a:solidFill>
              <a:srgbClr val="000000"/>
            </a:solidFill>
            <a:prstDash val="solid"/>
            <a:miter lim="400000"/>
            <a:headEnd type="none" w="med" len="med"/>
            <a:tailEnd type="arrow" w="med" len="med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6" name="文本框 5"/>
          <p:cNvSpPr txBox="1"/>
          <p:nvPr/>
        </p:nvSpPr>
        <p:spPr>
          <a:xfrm>
            <a:off x="9334013" y="3839507"/>
            <a:ext cx="2364592" cy="471924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l" defTabSz="8255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zh-CN" altLang="en-US" sz="24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dobe 仿宋 Std R" panose="02020400000000000000" pitchFamily="18" charset="-122"/>
                <a:ea typeface="Adobe 仿宋 Std R" panose="02020400000000000000" pitchFamily="18" charset="-122"/>
                <a:sym typeface="Helvetica Light"/>
              </a:rPr>
              <a:t>请求目录结构</a:t>
            </a:r>
            <a:endParaRPr kumimoji="0" lang="en-US" altLang="zh-CN" sz="24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dobe 仿宋 Std R" panose="02020400000000000000" pitchFamily="18" charset="-122"/>
              <a:ea typeface="Adobe 仿宋 Std R" panose="02020400000000000000" pitchFamily="18" charset="-122"/>
              <a:sym typeface="Helvetica Light"/>
            </a:endParaRPr>
          </a:p>
        </p:txBody>
      </p:sp>
      <p:sp>
        <p:nvSpPr>
          <p:cNvPr id="10" name="矩形: 圆角 9"/>
          <p:cNvSpPr/>
          <p:nvPr/>
        </p:nvSpPr>
        <p:spPr>
          <a:xfrm>
            <a:off x="5644515" y="5912625"/>
            <a:ext cx="3164205" cy="1089865"/>
          </a:xfrm>
          <a:prstGeom prst="roundRect">
            <a:avLst>
              <a:gd name="adj" fmla="val 4598"/>
            </a:avLst>
          </a:prstGeom>
          <a:solidFill>
            <a:srgbClr val="327E99"/>
          </a:solidFill>
          <a:ln w="12700" cap="flat">
            <a:noFill/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zh-CN" altLang="en-US" sz="32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rPr>
              <a:t>错误提示</a:t>
            </a:r>
          </a:p>
        </p:txBody>
      </p:sp>
      <p:sp>
        <p:nvSpPr>
          <p:cNvPr id="11" name="文本框 10"/>
          <p:cNvSpPr txBox="1"/>
          <p:nvPr/>
        </p:nvSpPr>
        <p:spPr>
          <a:xfrm>
            <a:off x="12367443" y="5861114"/>
            <a:ext cx="2364592" cy="471924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l" defTabSz="8255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zh-CN" altLang="en-US" sz="24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dobe 仿宋 Std R" panose="02020400000000000000" pitchFamily="18" charset="-122"/>
                <a:ea typeface="Adobe 仿宋 Std R" panose="02020400000000000000" pitchFamily="18" charset="-122"/>
                <a:sym typeface="Helvetica Light"/>
              </a:rPr>
              <a:t>目录结构</a:t>
            </a:r>
            <a:endParaRPr kumimoji="0" lang="en-US" altLang="zh-CN" sz="24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dobe 仿宋 Std R" panose="02020400000000000000" pitchFamily="18" charset="-122"/>
              <a:ea typeface="Adobe 仿宋 Std R" panose="02020400000000000000" pitchFamily="18" charset="-122"/>
              <a:sym typeface="Helvetica Light"/>
            </a:endParaRPr>
          </a:p>
        </p:txBody>
      </p:sp>
      <p:sp>
        <p:nvSpPr>
          <p:cNvPr id="20" name="Shape 73"/>
          <p:cNvSpPr txBox="1">
            <a:spLocks/>
          </p:cNvSpPr>
          <p:nvPr/>
        </p:nvSpPr>
        <p:spPr>
          <a:xfrm>
            <a:off x="369192" y="543910"/>
            <a:ext cx="16383723" cy="186363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91438" rIns="91438" anchor="ctr">
            <a:normAutofit/>
          </a:bodyPr>
          <a:lstStyle>
            <a:lvl1pPr algn="ctr">
              <a:lnSpc>
                <a:spcPct val="90000"/>
              </a:lnSpc>
              <a:defRPr sz="6000">
                <a:latin typeface="Microsoft YaHei"/>
                <a:ea typeface="Microsoft YaHei"/>
                <a:cs typeface="Microsoft YaHei"/>
                <a:sym typeface="Microsoft YaHei"/>
              </a:defRPr>
            </a:lvl1pPr>
            <a:lvl2pPr>
              <a:lnSpc>
                <a:spcPct val="90000"/>
              </a:lnSpc>
              <a:defRPr sz="4400">
                <a:latin typeface="微软雅黑 (Headings)"/>
                <a:ea typeface="微软雅黑 (Headings)"/>
                <a:cs typeface="微软雅黑 (Headings)"/>
                <a:sym typeface="微软雅黑 (Headings)"/>
              </a:defRPr>
            </a:lvl2pPr>
            <a:lvl3pPr>
              <a:lnSpc>
                <a:spcPct val="90000"/>
              </a:lnSpc>
              <a:defRPr sz="4400">
                <a:latin typeface="微软雅黑 (Headings)"/>
                <a:ea typeface="微软雅黑 (Headings)"/>
                <a:cs typeface="微软雅黑 (Headings)"/>
                <a:sym typeface="微软雅黑 (Headings)"/>
              </a:defRPr>
            </a:lvl3pPr>
            <a:lvl4pPr>
              <a:lnSpc>
                <a:spcPct val="90000"/>
              </a:lnSpc>
              <a:defRPr sz="4400">
                <a:latin typeface="微软雅黑 (Headings)"/>
                <a:ea typeface="微软雅黑 (Headings)"/>
                <a:cs typeface="微软雅黑 (Headings)"/>
                <a:sym typeface="微软雅黑 (Headings)"/>
              </a:defRPr>
            </a:lvl4pPr>
            <a:lvl5pPr>
              <a:lnSpc>
                <a:spcPct val="90000"/>
              </a:lnSpc>
              <a:defRPr sz="4400">
                <a:latin typeface="微软雅黑 (Headings)"/>
                <a:ea typeface="微软雅黑 (Headings)"/>
                <a:cs typeface="微软雅黑 (Headings)"/>
                <a:sym typeface="微软雅黑 (Headings)"/>
              </a:defRPr>
            </a:lvl5pPr>
            <a:lvl6pPr>
              <a:lnSpc>
                <a:spcPct val="90000"/>
              </a:lnSpc>
              <a:defRPr sz="4400">
                <a:latin typeface="微软雅黑 (Headings)"/>
                <a:ea typeface="微软雅黑 (Headings)"/>
                <a:cs typeface="微软雅黑 (Headings)"/>
                <a:sym typeface="微软雅黑 (Headings)"/>
              </a:defRPr>
            </a:lvl6pPr>
            <a:lvl7pPr>
              <a:lnSpc>
                <a:spcPct val="90000"/>
              </a:lnSpc>
              <a:defRPr sz="4400">
                <a:latin typeface="微软雅黑 (Headings)"/>
                <a:ea typeface="微软雅黑 (Headings)"/>
                <a:cs typeface="微软雅黑 (Headings)"/>
                <a:sym typeface="微软雅黑 (Headings)"/>
              </a:defRPr>
            </a:lvl7pPr>
            <a:lvl8pPr>
              <a:lnSpc>
                <a:spcPct val="90000"/>
              </a:lnSpc>
              <a:defRPr sz="4400">
                <a:latin typeface="微软雅黑 (Headings)"/>
                <a:ea typeface="微软雅黑 (Headings)"/>
                <a:cs typeface="微软雅黑 (Headings)"/>
                <a:sym typeface="微软雅黑 (Headings)"/>
              </a:defRPr>
            </a:lvl8pPr>
            <a:lvl9pPr>
              <a:lnSpc>
                <a:spcPct val="90000"/>
              </a:lnSpc>
              <a:defRPr sz="4400">
                <a:latin typeface="微软雅黑 (Headings)"/>
                <a:ea typeface="微软雅黑 (Headings)"/>
                <a:cs typeface="微软雅黑 (Headings)"/>
                <a:sym typeface="微软雅黑 (Headings)"/>
              </a:defRPr>
            </a:lvl9pPr>
          </a:lstStyle>
          <a:p>
            <a:pPr algn="l">
              <a:defRPr sz="1800"/>
            </a:pPr>
            <a:r>
              <a:rPr lang="zh-CN" altLang="en-US" sz="66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获取目录，获取目录内容</a:t>
            </a:r>
            <a:endParaRPr lang="en-US" sz="6600" dirty="0">
              <a:solidFill>
                <a:schemeClr val="tx1">
                  <a:lumMod val="50000"/>
                  <a:lumOff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24" name="连接符: 肘形 23"/>
          <p:cNvCxnSpPr>
            <a:cxnSpLocks/>
            <a:stCxn id="4" idx="2"/>
            <a:endCxn id="10" idx="3"/>
          </p:cNvCxnSpPr>
          <p:nvPr/>
        </p:nvCxnSpPr>
        <p:spPr>
          <a:xfrm rot="5400000">
            <a:off x="12020241" y="1724883"/>
            <a:ext cx="1521155" cy="7944195"/>
          </a:xfrm>
          <a:prstGeom prst="bentConnector2">
            <a:avLst/>
          </a:prstGeom>
          <a:noFill/>
          <a:ln w="38100" cap="flat">
            <a:solidFill>
              <a:srgbClr val="000000"/>
            </a:solidFill>
            <a:prstDash val="solid"/>
            <a:miter lim="400000"/>
            <a:headEnd type="none" w="med" len="med"/>
            <a:tailEnd type="triangle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25" name="矩形: 圆角 24"/>
          <p:cNvSpPr/>
          <p:nvPr/>
        </p:nvSpPr>
        <p:spPr>
          <a:xfrm>
            <a:off x="5644515" y="7891952"/>
            <a:ext cx="3164205" cy="1089865"/>
          </a:xfrm>
          <a:prstGeom prst="roundRect">
            <a:avLst>
              <a:gd name="adj" fmla="val 4598"/>
            </a:avLst>
          </a:prstGeom>
          <a:solidFill>
            <a:srgbClr val="327E99"/>
          </a:solidFill>
          <a:ln w="12700" cap="flat">
            <a:noFill/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zh-CN" altLang="en-US" sz="32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rPr>
              <a:t>请求目录内容</a:t>
            </a:r>
          </a:p>
        </p:txBody>
      </p:sp>
      <p:sp>
        <p:nvSpPr>
          <p:cNvPr id="26" name="矩形: 圆角 25"/>
          <p:cNvSpPr/>
          <p:nvPr/>
        </p:nvSpPr>
        <p:spPr>
          <a:xfrm>
            <a:off x="15170812" y="7918450"/>
            <a:ext cx="3164205" cy="1089865"/>
          </a:xfrm>
          <a:prstGeom prst="roundRect">
            <a:avLst>
              <a:gd name="adj" fmla="val 4598"/>
            </a:avLst>
          </a:prstGeom>
          <a:solidFill>
            <a:srgbClr val="327E99"/>
          </a:solidFill>
          <a:ln w="12700" cap="flat">
            <a:noFill/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zh-CN" altLang="en-US" sz="32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rPr>
              <a:t>预览图</a:t>
            </a:r>
            <a:r>
              <a:rPr kumimoji="0" lang="en-US" altLang="zh-CN" sz="32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rPr>
              <a:t>/</a:t>
            </a:r>
            <a:r>
              <a:rPr kumimoji="0" lang="zh-CN" altLang="en-US" sz="32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rPr>
              <a:t>中图</a:t>
            </a:r>
          </a:p>
        </p:txBody>
      </p:sp>
      <p:cxnSp>
        <p:nvCxnSpPr>
          <p:cNvPr id="27" name="直接箭头连接符 26"/>
          <p:cNvCxnSpPr>
            <a:endCxn id="26" idx="1"/>
          </p:cNvCxnSpPr>
          <p:nvPr/>
        </p:nvCxnSpPr>
        <p:spPr>
          <a:xfrm>
            <a:off x="8869680" y="8463382"/>
            <a:ext cx="6301132" cy="1"/>
          </a:xfrm>
          <a:prstGeom prst="straightConnector1">
            <a:avLst/>
          </a:prstGeom>
          <a:noFill/>
          <a:ln w="38100" cap="flat">
            <a:solidFill>
              <a:srgbClr val="000000"/>
            </a:solidFill>
            <a:prstDash val="solid"/>
            <a:miter lim="400000"/>
            <a:headEnd type="none" w="med" len="med"/>
            <a:tailEnd type="arrow" w="med" len="med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28" name="文本框 27"/>
          <p:cNvSpPr txBox="1"/>
          <p:nvPr/>
        </p:nvSpPr>
        <p:spPr>
          <a:xfrm>
            <a:off x="9334013" y="7911419"/>
            <a:ext cx="2672594" cy="471924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l" defTabSz="8255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zh-CN" altLang="en-US" sz="24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dobe 仿宋 Std R" panose="02020400000000000000" pitchFamily="18" charset="-122"/>
                <a:ea typeface="Adobe 仿宋 Std R" panose="02020400000000000000" pitchFamily="18" charset="-122"/>
                <a:sym typeface="Helvetica Light"/>
              </a:rPr>
              <a:t>目录</a:t>
            </a:r>
            <a:r>
              <a:rPr kumimoji="0" lang="en-US" altLang="zh-CN" sz="24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dobe 仿宋 Std R" panose="02020400000000000000" pitchFamily="18" charset="-122"/>
                <a:ea typeface="Adobe 仿宋 Std R" panose="02020400000000000000" pitchFamily="18" charset="-122"/>
                <a:sym typeface="Helvetica Light"/>
              </a:rPr>
              <a:t>ID</a:t>
            </a:r>
            <a:r>
              <a:rPr kumimoji="0" lang="zh-CN" altLang="en-US" sz="24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dobe 仿宋 Std R" panose="02020400000000000000" pitchFamily="18" charset="-122"/>
                <a:ea typeface="Adobe 仿宋 Std R" panose="02020400000000000000" pitchFamily="18" charset="-122"/>
                <a:sym typeface="Helvetica Light"/>
              </a:rPr>
              <a:t>；分页信息</a:t>
            </a:r>
            <a:endParaRPr kumimoji="0" lang="en-US" altLang="zh-CN" sz="24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dobe 仿宋 Std R" panose="02020400000000000000" pitchFamily="18" charset="-122"/>
              <a:ea typeface="Adobe 仿宋 Std R" panose="02020400000000000000" pitchFamily="18" charset="-122"/>
              <a:sym typeface="Helvetica Light"/>
            </a:endParaRPr>
          </a:p>
        </p:txBody>
      </p:sp>
      <p:sp>
        <p:nvSpPr>
          <p:cNvPr id="29" name="矩形: 圆角 28"/>
          <p:cNvSpPr/>
          <p:nvPr/>
        </p:nvSpPr>
        <p:spPr>
          <a:xfrm>
            <a:off x="5644515" y="10013112"/>
            <a:ext cx="3164205" cy="1089865"/>
          </a:xfrm>
          <a:prstGeom prst="roundRect">
            <a:avLst>
              <a:gd name="adj" fmla="val 4598"/>
            </a:avLst>
          </a:prstGeom>
          <a:solidFill>
            <a:srgbClr val="327E99"/>
          </a:solidFill>
          <a:ln w="12700" cap="flat">
            <a:noFill/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zh-CN" altLang="en-US" sz="32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rPr>
              <a:t>浏览</a:t>
            </a:r>
          </a:p>
        </p:txBody>
      </p:sp>
      <p:sp>
        <p:nvSpPr>
          <p:cNvPr id="30" name="文本框 29"/>
          <p:cNvSpPr txBox="1"/>
          <p:nvPr/>
        </p:nvSpPr>
        <p:spPr>
          <a:xfrm>
            <a:off x="12367443" y="9961601"/>
            <a:ext cx="2364592" cy="471924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l" defTabSz="8255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zh-CN" altLang="en-US" sz="24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dobe 仿宋 Std R" panose="02020400000000000000" pitchFamily="18" charset="-122"/>
                <a:ea typeface="Adobe 仿宋 Std R" panose="02020400000000000000" pitchFamily="18" charset="-122"/>
                <a:sym typeface="Helvetica Light"/>
              </a:rPr>
              <a:t>返回内容</a:t>
            </a:r>
            <a:r>
              <a:rPr kumimoji="0" lang="en-US" altLang="zh-CN" sz="24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dobe 仿宋 Std R" panose="02020400000000000000" pitchFamily="18" charset="-122"/>
                <a:ea typeface="Adobe 仿宋 Std R" panose="02020400000000000000" pitchFamily="18" charset="-122"/>
                <a:sym typeface="Helvetica Light"/>
              </a:rPr>
              <a:t>URL</a:t>
            </a:r>
          </a:p>
        </p:txBody>
      </p:sp>
      <p:cxnSp>
        <p:nvCxnSpPr>
          <p:cNvPr id="31" name="连接符: 肘形 30"/>
          <p:cNvCxnSpPr>
            <a:cxnSpLocks/>
            <a:stCxn id="26" idx="2"/>
            <a:endCxn id="29" idx="3"/>
          </p:cNvCxnSpPr>
          <p:nvPr/>
        </p:nvCxnSpPr>
        <p:spPr>
          <a:xfrm rot="5400000">
            <a:off x="12005953" y="5811083"/>
            <a:ext cx="1549730" cy="7944195"/>
          </a:xfrm>
          <a:prstGeom prst="bentConnector2">
            <a:avLst/>
          </a:prstGeom>
          <a:noFill/>
          <a:ln w="38100" cap="flat">
            <a:solidFill>
              <a:srgbClr val="000000"/>
            </a:solidFill>
            <a:prstDash val="solid"/>
            <a:miter lim="400000"/>
            <a:headEnd type="none" w="med" len="med"/>
            <a:tailEnd type="triangle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</p:spTree>
    <p:extLst>
      <p:ext uri="{BB962C8B-B14F-4D97-AF65-F5344CB8AC3E}">
        <p14:creationId xmlns:p14="http://schemas.microsoft.com/office/powerpoint/2010/main" val="3923160293"/>
      </p:ext>
    </p:extLst>
  </p:cSld>
  <p:clrMapOvr>
    <a:masterClrMapping/>
  </p:clrMapOvr>
  <p:transition spd="med"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图片 6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9785"/>
          <a:stretch/>
        </p:blipFill>
        <p:spPr>
          <a:xfrm>
            <a:off x="-1" y="0"/>
            <a:ext cx="24384001" cy="13716000"/>
          </a:xfrm>
          <a:prstGeom prst="rect">
            <a:avLst/>
          </a:prstGeom>
        </p:spPr>
      </p:pic>
      <p:sp>
        <p:nvSpPr>
          <p:cNvPr id="8" name="矩形 7"/>
          <p:cNvSpPr/>
          <p:nvPr/>
        </p:nvSpPr>
        <p:spPr>
          <a:xfrm>
            <a:off x="6847221" y="7226352"/>
            <a:ext cx="11322155" cy="14465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rtl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zh-CN" sz="4400" b="1" i="1" kern="1200" dirty="0">
                <a:solidFill>
                  <a:srgbClr val="333333"/>
                </a:solidFill>
                <a:latin typeface="arial" panose="020B0604020202020204" pitchFamily="34" charset="0"/>
                <a:ea typeface="ＭＳ Ｐゴシック" charset="-128"/>
                <a:sym typeface="Lato" panose="020F0502020204030203" pitchFamily="34" charset="0"/>
              </a:rPr>
              <a:t>THANK YOU</a:t>
            </a:r>
          </a:p>
          <a:p>
            <a:pPr rtl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zh-CN" sz="4400" b="1" i="1" kern="1200" dirty="0">
                <a:solidFill>
                  <a:srgbClr val="333333"/>
                </a:solidFill>
                <a:latin typeface="arial" panose="020B0604020202020204" pitchFamily="34" charset="0"/>
                <a:ea typeface="ＭＳ Ｐゴシック" charset="-128"/>
                <a:sym typeface="Lato" panose="020F0502020204030203" pitchFamily="34" charset="0"/>
              </a:rPr>
              <a:t> FOR YOUR ATTENTION</a:t>
            </a:r>
            <a:endParaRPr lang="zh-CN" altLang="en-US" sz="4400" b="1" i="1" kern="1200" dirty="0">
              <a:solidFill>
                <a:srgbClr val="DCDEE0"/>
              </a:solidFill>
              <a:latin typeface="Lato" panose="020F0502020204030203" pitchFamily="34" charset="0"/>
              <a:ea typeface="宋体" panose="02010600030101010101" pitchFamily="2" charset="-122"/>
              <a:sym typeface="Lato" panose="020F0502020204030203" pitchFamily="34" charset="0"/>
            </a:endParaRPr>
          </a:p>
        </p:txBody>
      </p:sp>
      <p:grpSp>
        <p:nvGrpSpPr>
          <p:cNvPr id="9" name="Group 35"/>
          <p:cNvGrpSpPr>
            <a:grpSpLocks noChangeAspect="1"/>
          </p:cNvGrpSpPr>
          <p:nvPr/>
        </p:nvGrpSpPr>
        <p:grpSpPr bwMode="auto">
          <a:xfrm>
            <a:off x="11115569" y="6158940"/>
            <a:ext cx="2785458" cy="928558"/>
            <a:chOff x="5236" y="1502"/>
            <a:chExt cx="1752" cy="574"/>
          </a:xfrm>
        </p:grpSpPr>
        <p:sp>
          <p:nvSpPr>
            <p:cNvPr id="10" name="Freeform 36"/>
            <p:cNvSpPr>
              <a:spLocks/>
            </p:cNvSpPr>
            <p:nvPr/>
          </p:nvSpPr>
          <p:spPr bwMode="auto">
            <a:xfrm>
              <a:off x="5563" y="1550"/>
              <a:ext cx="1425" cy="526"/>
            </a:xfrm>
            <a:custGeom>
              <a:avLst/>
              <a:gdLst>
                <a:gd name="T0" fmla="*/ 310 w 601"/>
                <a:gd name="T1" fmla="*/ 143 h 220"/>
                <a:gd name="T2" fmla="*/ 335 w 601"/>
                <a:gd name="T3" fmla="*/ 164 h 220"/>
                <a:gd name="T4" fmla="*/ 363 w 601"/>
                <a:gd name="T5" fmla="*/ 182 h 220"/>
                <a:gd name="T6" fmla="*/ 424 w 601"/>
                <a:gd name="T7" fmla="*/ 203 h 220"/>
                <a:gd name="T8" fmla="*/ 456 w 601"/>
                <a:gd name="T9" fmla="*/ 205 h 220"/>
                <a:gd name="T10" fmla="*/ 488 w 601"/>
                <a:gd name="T11" fmla="*/ 201 h 220"/>
                <a:gd name="T12" fmla="*/ 546 w 601"/>
                <a:gd name="T13" fmla="*/ 177 h 220"/>
                <a:gd name="T14" fmla="*/ 582 w 601"/>
                <a:gd name="T15" fmla="*/ 128 h 220"/>
                <a:gd name="T16" fmla="*/ 585 w 601"/>
                <a:gd name="T17" fmla="*/ 113 h 220"/>
                <a:gd name="T18" fmla="*/ 585 w 601"/>
                <a:gd name="T19" fmla="*/ 106 h 220"/>
                <a:gd name="T20" fmla="*/ 585 w 601"/>
                <a:gd name="T21" fmla="*/ 98 h 220"/>
                <a:gd name="T22" fmla="*/ 576 w 601"/>
                <a:gd name="T23" fmla="*/ 69 h 220"/>
                <a:gd name="T24" fmla="*/ 558 w 601"/>
                <a:gd name="T25" fmla="*/ 45 h 220"/>
                <a:gd name="T26" fmla="*/ 533 w 601"/>
                <a:gd name="T27" fmla="*/ 29 h 220"/>
                <a:gd name="T28" fmla="*/ 472 w 601"/>
                <a:gd name="T29" fmla="*/ 18 h 220"/>
                <a:gd name="T30" fmla="*/ 457 w 601"/>
                <a:gd name="T31" fmla="*/ 19 h 220"/>
                <a:gd name="T32" fmla="*/ 442 w 601"/>
                <a:gd name="T33" fmla="*/ 22 h 220"/>
                <a:gd name="T34" fmla="*/ 414 w 601"/>
                <a:gd name="T35" fmla="*/ 36 h 220"/>
                <a:gd name="T36" fmla="*/ 362 w 601"/>
                <a:gd name="T37" fmla="*/ 74 h 220"/>
                <a:gd name="T38" fmla="*/ 255 w 601"/>
                <a:gd name="T39" fmla="*/ 154 h 220"/>
                <a:gd name="T40" fmla="*/ 195 w 601"/>
                <a:gd name="T41" fmla="*/ 185 h 220"/>
                <a:gd name="T42" fmla="*/ 132 w 601"/>
                <a:gd name="T43" fmla="*/ 206 h 220"/>
                <a:gd name="T44" fmla="*/ 0 w 601"/>
                <a:gd name="T45" fmla="*/ 217 h 220"/>
                <a:gd name="T46" fmla="*/ 130 w 601"/>
                <a:gd name="T47" fmla="*/ 197 h 220"/>
                <a:gd name="T48" fmla="*/ 248 w 601"/>
                <a:gd name="T49" fmla="*/ 142 h 220"/>
                <a:gd name="T50" fmla="*/ 275 w 601"/>
                <a:gd name="T51" fmla="*/ 124 h 220"/>
                <a:gd name="T52" fmla="*/ 301 w 601"/>
                <a:gd name="T53" fmla="*/ 104 h 220"/>
                <a:gd name="T54" fmla="*/ 351 w 601"/>
                <a:gd name="T55" fmla="*/ 62 h 220"/>
                <a:gd name="T56" fmla="*/ 377 w 601"/>
                <a:gd name="T57" fmla="*/ 41 h 220"/>
                <a:gd name="T58" fmla="*/ 405 w 601"/>
                <a:gd name="T59" fmla="*/ 21 h 220"/>
                <a:gd name="T60" fmla="*/ 437 w 601"/>
                <a:gd name="T61" fmla="*/ 6 h 220"/>
                <a:gd name="T62" fmla="*/ 454 w 601"/>
                <a:gd name="T63" fmla="*/ 2 h 220"/>
                <a:gd name="T64" fmla="*/ 463 w 601"/>
                <a:gd name="T65" fmla="*/ 1 h 220"/>
                <a:gd name="T66" fmla="*/ 472 w 601"/>
                <a:gd name="T67" fmla="*/ 0 h 220"/>
                <a:gd name="T68" fmla="*/ 506 w 601"/>
                <a:gd name="T69" fmla="*/ 3 h 220"/>
                <a:gd name="T70" fmla="*/ 540 w 601"/>
                <a:gd name="T71" fmla="*/ 13 h 220"/>
                <a:gd name="T72" fmla="*/ 570 w 601"/>
                <a:gd name="T73" fmla="*/ 33 h 220"/>
                <a:gd name="T74" fmla="*/ 591 w 601"/>
                <a:gd name="T75" fmla="*/ 62 h 220"/>
                <a:gd name="T76" fmla="*/ 601 w 601"/>
                <a:gd name="T77" fmla="*/ 96 h 220"/>
                <a:gd name="T78" fmla="*/ 601 w 601"/>
                <a:gd name="T79" fmla="*/ 105 h 220"/>
                <a:gd name="T80" fmla="*/ 601 w 601"/>
                <a:gd name="T81" fmla="*/ 110 h 220"/>
                <a:gd name="T82" fmla="*/ 601 w 601"/>
                <a:gd name="T83" fmla="*/ 115 h 220"/>
                <a:gd name="T84" fmla="*/ 596 w 601"/>
                <a:gd name="T85" fmla="*/ 132 h 220"/>
                <a:gd name="T86" fmla="*/ 580 w 601"/>
                <a:gd name="T87" fmla="*/ 164 h 220"/>
                <a:gd name="T88" fmla="*/ 554 w 601"/>
                <a:gd name="T89" fmla="*/ 188 h 220"/>
                <a:gd name="T90" fmla="*/ 523 w 601"/>
                <a:gd name="T91" fmla="*/ 204 h 220"/>
                <a:gd name="T92" fmla="*/ 490 w 601"/>
                <a:gd name="T93" fmla="*/ 212 h 220"/>
                <a:gd name="T94" fmla="*/ 456 w 601"/>
                <a:gd name="T95" fmla="*/ 215 h 220"/>
                <a:gd name="T96" fmla="*/ 423 w 601"/>
                <a:gd name="T97" fmla="*/ 212 h 220"/>
                <a:gd name="T98" fmla="*/ 361 w 601"/>
                <a:gd name="T99" fmla="*/ 186 h 220"/>
                <a:gd name="T100" fmla="*/ 310 w 601"/>
                <a:gd name="T101" fmla="*/ 143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601" h="220">
                  <a:moveTo>
                    <a:pt x="310" y="143"/>
                  </a:moveTo>
                  <a:cubicBezTo>
                    <a:pt x="318" y="151"/>
                    <a:pt x="326" y="158"/>
                    <a:pt x="335" y="164"/>
                  </a:cubicBezTo>
                  <a:cubicBezTo>
                    <a:pt x="344" y="171"/>
                    <a:pt x="353" y="177"/>
                    <a:pt x="363" y="182"/>
                  </a:cubicBezTo>
                  <a:cubicBezTo>
                    <a:pt x="382" y="192"/>
                    <a:pt x="403" y="200"/>
                    <a:pt x="424" y="203"/>
                  </a:cubicBezTo>
                  <a:cubicBezTo>
                    <a:pt x="435" y="205"/>
                    <a:pt x="446" y="206"/>
                    <a:pt x="456" y="205"/>
                  </a:cubicBezTo>
                  <a:cubicBezTo>
                    <a:pt x="467" y="205"/>
                    <a:pt x="478" y="203"/>
                    <a:pt x="488" y="201"/>
                  </a:cubicBezTo>
                  <a:cubicBezTo>
                    <a:pt x="509" y="197"/>
                    <a:pt x="529" y="189"/>
                    <a:pt x="546" y="177"/>
                  </a:cubicBezTo>
                  <a:cubicBezTo>
                    <a:pt x="563" y="164"/>
                    <a:pt x="576" y="147"/>
                    <a:pt x="582" y="128"/>
                  </a:cubicBezTo>
                  <a:cubicBezTo>
                    <a:pt x="583" y="123"/>
                    <a:pt x="584" y="118"/>
                    <a:pt x="585" y="113"/>
                  </a:cubicBezTo>
                  <a:cubicBezTo>
                    <a:pt x="585" y="110"/>
                    <a:pt x="585" y="108"/>
                    <a:pt x="585" y="106"/>
                  </a:cubicBezTo>
                  <a:cubicBezTo>
                    <a:pt x="585" y="103"/>
                    <a:pt x="585" y="101"/>
                    <a:pt x="585" y="98"/>
                  </a:cubicBezTo>
                  <a:cubicBezTo>
                    <a:pt x="583" y="88"/>
                    <a:pt x="581" y="78"/>
                    <a:pt x="576" y="69"/>
                  </a:cubicBezTo>
                  <a:cubicBezTo>
                    <a:pt x="572" y="60"/>
                    <a:pt x="566" y="52"/>
                    <a:pt x="558" y="45"/>
                  </a:cubicBezTo>
                  <a:cubicBezTo>
                    <a:pt x="551" y="38"/>
                    <a:pt x="543" y="33"/>
                    <a:pt x="533" y="29"/>
                  </a:cubicBezTo>
                  <a:cubicBezTo>
                    <a:pt x="514" y="21"/>
                    <a:pt x="493" y="18"/>
                    <a:pt x="472" y="18"/>
                  </a:cubicBezTo>
                  <a:cubicBezTo>
                    <a:pt x="466" y="18"/>
                    <a:pt x="462" y="18"/>
                    <a:pt x="457" y="19"/>
                  </a:cubicBezTo>
                  <a:cubicBezTo>
                    <a:pt x="452" y="20"/>
                    <a:pt x="447" y="21"/>
                    <a:pt x="442" y="22"/>
                  </a:cubicBezTo>
                  <a:cubicBezTo>
                    <a:pt x="433" y="26"/>
                    <a:pt x="423" y="30"/>
                    <a:pt x="414" y="36"/>
                  </a:cubicBezTo>
                  <a:cubicBezTo>
                    <a:pt x="396" y="47"/>
                    <a:pt x="379" y="61"/>
                    <a:pt x="362" y="74"/>
                  </a:cubicBezTo>
                  <a:cubicBezTo>
                    <a:pt x="328" y="102"/>
                    <a:pt x="293" y="131"/>
                    <a:pt x="255" y="154"/>
                  </a:cubicBezTo>
                  <a:cubicBezTo>
                    <a:pt x="236" y="166"/>
                    <a:pt x="216" y="176"/>
                    <a:pt x="195" y="185"/>
                  </a:cubicBezTo>
                  <a:cubicBezTo>
                    <a:pt x="175" y="193"/>
                    <a:pt x="154" y="200"/>
                    <a:pt x="132" y="206"/>
                  </a:cubicBezTo>
                  <a:cubicBezTo>
                    <a:pt x="89" y="216"/>
                    <a:pt x="44" y="220"/>
                    <a:pt x="0" y="217"/>
                  </a:cubicBezTo>
                  <a:cubicBezTo>
                    <a:pt x="44" y="216"/>
                    <a:pt x="88" y="210"/>
                    <a:pt x="130" y="197"/>
                  </a:cubicBezTo>
                  <a:cubicBezTo>
                    <a:pt x="172" y="185"/>
                    <a:pt x="211" y="166"/>
                    <a:pt x="248" y="142"/>
                  </a:cubicBezTo>
                  <a:cubicBezTo>
                    <a:pt x="257" y="136"/>
                    <a:pt x="266" y="130"/>
                    <a:pt x="275" y="124"/>
                  </a:cubicBezTo>
                  <a:cubicBezTo>
                    <a:pt x="283" y="117"/>
                    <a:pt x="292" y="111"/>
                    <a:pt x="301" y="104"/>
                  </a:cubicBezTo>
                  <a:cubicBezTo>
                    <a:pt x="318" y="90"/>
                    <a:pt x="334" y="76"/>
                    <a:pt x="351" y="62"/>
                  </a:cubicBezTo>
                  <a:cubicBezTo>
                    <a:pt x="360" y="55"/>
                    <a:pt x="368" y="47"/>
                    <a:pt x="377" y="41"/>
                  </a:cubicBezTo>
                  <a:cubicBezTo>
                    <a:pt x="386" y="34"/>
                    <a:pt x="395" y="27"/>
                    <a:pt x="405" y="21"/>
                  </a:cubicBezTo>
                  <a:cubicBezTo>
                    <a:pt x="415" y="15"/>
                    <a:pt x="425" y="10"/>
                    <a:pt x="437" y="6"/>
                  </a:cubicBezTo>
                  <a:cubicBezTo>
                    <a:pt x="442" y="4"/>
                    <a:pt x="448" y="2"/>
                    <a:pt x="454" y="2"/>
                  </a:cubicBezTo>
                  <a:cubicBezTo>
                    <a:pt x="457" y="1"/>
                    <a:pt x="460" y="1"/>
                    <a:pt x="463" y="1"/>
                  </a:cubicBezTo>
                  <a:cubicBezTo>
                    <a:pt x="466" y="0"/>
                    <a:pt x="469" y="0"/>
                    <a:pt x="472" y="0"/>
                  </a:cubicBezTo>
                  <a:cubicBezTo>
                    <a:pt x="483" y="1"/>
                    <a:pt x="495" y="1"/>
                    <a:pt x="506" y="3"/>
                  </a:cubicBezTo>
                  <a:cubicBezTo>
                    <a:pt x="518" y="5"/>
                    <a:pt x="529" y="8"/>
                    <a:pt x="540" y="13"/>
                  </a:cubicBezTo>
                  <a:cubicBezTo>
                    <a:pt x="551" y="18"/>
                    <a:pt x="561" y="25"/>
                    <a:pt x="570" y="33"/>
                  </a:cubicBezTo>
                  <a:cubicBezTo>
                    <a:pt x="579" y="41"/>
                    <a:pt x="586" y="51"/>
                    <a:pt x="591" y="62"/>
                  </a:cubicBezTo>
                  <a:cubicBezTo>
                    <a:pt x="596" y="73"/>
                    <a:pt x="599" y="85"/>
                    <a:pt x="601" y="96"/>
                  </a:cubicBezTo>
                  <a:cubicBezTo>
                    <a:pt x="601" y="99"/>
                    <a:pt x="601" y="102"/>
                    <a:pt x="601" y="105"/>
                  </a:cubicBezTo>
                  <a:cubicBezTo>
                    <a:pt x="601" y="107"/>
                    <a:pt x="601" y="109"/>
                    <a:pt x="601" y="110"/>
                  </a:cubicBezTo>
                  <a:cubicBezTo>
                    <a:pt x="601" y="112"/>
                    <a:pt x="601" y="113"/>
                    <a:pt x="601" y="115"/>
                  </a:cubicBezTo>
                  <a:cubicBezTo>
                    <a:pt x="600" y="121"/>
                    <a:pt x="598" y="127"/>
                    <a:pt x="596" y="132"/>
                  </a:cubicBezTo>
                  <a:cubicBezTo>
                    <a:pt x="593" y="144"/>
                    <a:pt x="587" y="154"/>
                    <a:pt x="580" y="164"/>
                  </a:cubicBezTo>
                  <a:cubicBezTo>
                    <a:pt x="572" y="173"/>
                    <a:pt x="564" y="181"/>
                    <a:pt x="554" y="188"/>
                  </a:cubicBezTo>
                  <a:cubicBezTo>
                    <a:pt x="544" y="194"/>
                    <a:pt x="534" y="200"/>
                    <a:pt x="523" y="204"/>
                  </a:cubicBezTo>
                  <a:cubicBezTo>
                    <a:pt x="513" y="208"/>
                    <a:pt x="501" y="210"/>
                    <a:pt x="490" y="212"/>
                  </a:cubicBezTo>
                  <a:cubicBezTo>
                    <a:pt x="479" y="214"/>
                    <a:pt x="468" y="215"/>
                    <a:pt x="456" y="215"/>
                  </a:cubicBezTo>
                  <a:cubicBezTo>
                    <a:pt x="445" y="215"/>
                    <a:pt x="434" y="214"/>
                    <a:pt x="423" y="212"/>
                  </a:cubicBezTo>
                  <a:cubicBezTo>
                    <a:pt x="400" y="207"/>
                    <a:pt x="379" y="198"/>
                    <a:pt x="361" y="186"/>
                  </a:cubicBezTo>
                  <a:cubicBezTo>
                    <a:pt x="342" y="174"/>
                    <a:pt x="324" y="160"/>
                    <a:pt x="310" y="143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defTabSz="914400" rtl="0">
                <a:defRPr/>
              </a:pPr>
              <a:endParaRPr lang="zh-CN" altLang="en-US" sz="1800">
                <a:solidFill>
                  <a:prstClr val="black"/>
                </a:solidFill>
                <a:latin typeface="Calibri" panose="020F0502020204030204"/>
                <a:ea typeface="宋体" panose="02010600030101010101" pitchFamily="2" charset="-122"/>
                <a:sym typeface="Lato" panose="020F0502020204030203" pitchFamily="34" charset="0"/>
              </a:endParaRPr>
            </a:p>
          </p:txBody>
        </p:sp>
        <p:sp>
          <p:nvSpPr>
            <p:cNvPr id="11" name="Freeform 37"/>
            <p:cNvSpPr>
              <a:spLocks/>
            </p:cNvSpPr>
            <p:nvPr/>
          </p:nvSpPr>
          <p:spPr bwMode="auto">
            <a:xfrm>
              <a:off x="5236" y="1502"/>
              <a:ext cx="1427" cy="524"/>
            </a:xfrm>
            <a:custGeom>
              <a:avLst/>
              <a:gdLst>
                <a:gd name="T0" fmla="*/ 291 w 602"/>
                <a:gd name="T1" fmla="*/ 77 h 219"/>
                <a:gd name="T2" fmla="*/ 266 w 602"/>
                <a:gd name="T3" fmla="*/ 55 h 219"/>
                <a:gd name="T4" fmla="*/ 239 w 602"/>
                <a:gd name="T5" fmla="*/ 38 h 219"/>
                <a:gd name="T6" fmla="*/ 177 w 602"/>
                <a:gd name="T7" fmla="*/ 17 h 219"/>
                <a:gd name="T8" fmla="*/ 145 w 602"/>
                <a:gd name="T9" fmla="*/ 15 h 219"/>
                <a:gd name="T10" fmla="*/ 114 w 602"/>
                <a:gd name="T11" fmla="*/ 19 h 219"/>
                <a:gd name="T12" fmla="*/ 56 w 602"/>
                <a:gd name="T13" fmla="*/ 43 h 219"/>
                <a:gd name="T14" fmla="*/ 20 w 602"/>
                <a:gd name="T15" fmla="*/ 92 h 219"/>
                <a:gd name="T16" fmla="*/ 17 w 602"/>
                <a:gd name="T17" fmla="*/ 107 h 219"/>
                <a:gd name="T18" fmla="*/ 16 w 602"/>
                <a:gd name="T19" fmla="*/ 114 h 219"/>
                <a:gd name="T20" fmla="*/ 17 w 602"/>
                <a:gd name="T21" fmla="*/ 122 h 219"/>
                <a:gd name="T22" fmla="*/ 25 w 602"/>
                <a:gd name="T23" fmla="*/ 151 h 219"/>
                <a:gd name="T24" fmla="*/ 43 w 602"/>
                <a:gd name="T25" fmla="*/ 175 h 219"/>
                <a:gd name="T26" fmla="*/ 68 w 602"/>
                <a:gd name="T27" fmla="*/ 191 h 219"/>
                <a:gd name="T28" fmla="*/ 130 w 602"/>
                <a:gd name="T29" fmla="*/ 202 h 219"/>
                <a:gd name="T30" fmla="*/ 145 w 602"/>
                <a:gd name="T31" fmla="*/ 201 h 219"/>
                <a:gd name="T32" fmla="*/ 159 w 602"/>
                <a:gd name="T33" fmla="*/ 197 h 219"/>
                <a:gd name="T34" fmla="*/ 187 w 602"/>
                <a:gd name="T35" fmla="*/ 184 h 219"/>
                <a:gd name="T36" fmla="*/ 240 w 602"/>
                <a:gd name="T37" fmla="*/ 145 h 219"/>
                <a:gd name="T38" fmla="*/ 347 w 602"/>
                <a:gd name="T39" fmla="*/ 66 h 219"/>
                <a:gd name="T40" fmla="*/ 406 w 602"/>
                <a:gd name="T41" fmla="*/ 35 h 219"/>
                <a:gd name="T42" fmla="*/ 470 w 602"/>
                <a:gd name="T43" fmla="*/ 14 h 219"/>
                <a:gd name="T44" fmla="*/ 602 w 602"/>
                <a:gd name="T45" fmla="*/ 3 h 219"/>
                <a:gd name="T46" fmla="*/ 472 w 602"/>
                <a:gd name="T47" fmla="*/ 22 h 219"/>
                <a:gd name="T48" fmla="*/ 354 w 602"/>
                <a:gd name="T49" fmla="*/ 77 h 219"/>
                <a:gd name="T50" fmla="*/ 327 w 602"/>
                <a:gd name="T51" fmla="*/ 96 h 219"/>
                <a:gd name="T52" fmla="*/ 301 w 602"/>
                <a:gd name="T53" fmla="*/ 116 h 219"/>
                <a:gd name="T54" fmla="*/ 250 w 602"/>
                <a:gd name="T55" fmla="*/ 158 h 219"/>
                <a:gd name="T56" fmla="*/ 224 w 602"/>
                <a:gd name="T57" fmla="*/ 179 h 219"/>
                <a:gd name="T58" fmla="*/ 196 w 602"/>
                <a:gd name="T59" fmla="*/ 199 h 219"/>
                <a:gd name="T60" fmla="*/ 165 w 602"/>
                <a:gd name="T61" fmla="*/ 214 h 219"/>
                <a:gd name="T62" fmla="*/ 147 w 602"/>
                <a:gd name="T63" fmla="*/ 218 h 219"/>
                <a:gd name="T64" fmla="*/ 138 w 602"/>
                <a:gd name="T65" fmla="*/ 219 h 219"/>
                <a:gd name="T66" fmla="*/ 130 w 602"/>
                <a:gd name="T67" fmla="*/ 219 h 219"/>
                <a:gd name="T68" fmla="*/ 95 w 602"/>
                <a:gd name="T69" fmla="*/ 217 h 219"/>
                <a:gd name="T70" fmla="*/ 62 w 602"/>
                <a:gd name="T71" fmla="*/ 207 h 219"/>
                <a:gd name="T72" fmla="*/ 32 w 602"/>
                <a:gd name="T73" fmla="*/ 187 h 219"/>
                <a:gd name="T74" fmla="*/ 10 w 602"/>
                <a:gd name="T75" fmla="*/ 158 h 219"/>
                <a:gd name="T76" fmla="*/ 1 w 602"/>
                <a:gd name="T77" fmla="*/ 123 h 219"/>
                <a:gd name="T78" fmla="*/ 0 w 602"/>
                <a:gd name="T79" fmla="*/ 114 h 219"/>
                <a:gd name="T80" fmla="*/ 1 w 602"/>
                <a:gd name="T81" fmla="*/ 110 h 219"/>
                <a:gd name="T82" fmla="*/ 1 w 602"/>
                <a:gd name="T83" fmla="*/ 105 h 219"/>
                <a:gd name="T84" fmla="*/ 5 w 602"/>
                <a:gd name="T85" fmla="*/ 87 h 219"/>
                <a:gd name="T86" fmla="*/ 22 w 602"/>
                <a:gd name="T87" fmla="*/ 56 h 219"/>
                <a:gd name="T88" fmla="*/ 48 w 602"/>
                <a:gd name="T89" fmla="*/ 32 h 219"/>
                <a:gd name="T90" fmla="*/ 78 w 602"/>
                <a:gd name="T91" fmla="*/ 16 h 219"/>
                <a:gd name="T92" fmla="*/ 111 w 602"/>
                <a:gd name="T93" fmla="*/ 8 h 219"/>
                <a:gd name="T94" fmla="*/ 145 w 602"/>
                <a:gd name="T95" fmla="*/ 5 h 219"/>
                <a:gd name="T96" fmla="*/ 179 w 602"/>
                <a:gd name="T97" fmla="*/ 8 h 219"/>
                <a:gd name="T98" fmla="*/ 241 w 602"/>
                <a:gd name="T99" fmla="*/ 34 h 219"/>
                <a:gd name="T100" fmla="*/ 291 w 602"/>
                <a:gd name="T101" fmla="*/ 77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602" h="219">
                  <a:moveTo>
                    <a:pt x="291" y="77"/>
                  </a:moveTo>
                  <a:cubicBezTo>
                    <a:pt x="284" y="69"/>
                    <a:pt x="275" y="62"/>
                    <a:pt x="266" y="55"/>
                  </a:cubicBezTo>
                  <a:cubicBezTo>
                    <a:pt x="258" y="49"/>
                    <a:pt x="248" y="43"/>
                    <a:pt x="239" y="38"/>
                  </a:cubicBezTo>
                  <a:cubicBezTo>
                    <a:pt x="219" y="28"/>
                    <a:pt x="199" y="20"/>
                    <a:pt x="177" y="17"/>
                  </a:cubicBezTo>
                  <a:cubicBezTo>
                    <a:pt x="167" y="15"/>
                    <a:pt x="156" y="14"/>
                    <a:pt x="145" y="15"/>
                  </a:cubicBezTo>
                  <a:cubicBezTo>
                    <a:pt x="135" y="15"/>
                    <a:pt x="124" y="17"/>
                    <a:pt x="114" y="19"/>
                  </a:cubicBezTo>
                  <a:cubicBezTo>
                    <a:pt x="93" y="23"/>
                    <a:pt x="72" y="31"/>
                    <a:pt x="56" y="43"/>
                  </a:cubicBezTo>
                  <a:cubicBezTo>
                    <a:pt x="39" y="56"/>
                    <a:pt x="26" y="73"/>
                    <a:pt x="20" y="92"/>
                  </a:cubicBezTo>
                  <a:cubicBezTo>
                    <a:pt x="18" y="97"/>
                    <a:pt x="17" y="102"/>
                    <a:pt x="17" y="107"/>
                  </a:cubicBezTo>
                  <a:cubicBezTo>
                    <a:pt x="16" y="109"/>
                    <a:pt x="16" y="112"/>
                    <a:pt x="16" y="114"/>
                  </a:cubicBezTo>
                  <a:cubicBezTo>
                    <a:pt x="16" y="117"/>
                    <a:pt x="17" y="119"/>
                    <a:pt x="17" y="122"/>
                  </a:cubicBezTo>
                  <a:cubicBezTo>
                    <a:pt x="18" y="132"/>
                    <a:pt x="21" y="142"/>
                    <a:pt x="25" y="151"/>
                  </a:cubicBezTo>
                  <a:cubicBezTo>
                    <a:pt x="30" y="160"/>
                    <a:pt x="36" y="168"/>
                    <a:pt x="43" y="175"/>
                  </a:cubicBezTo>
                  <a:cubicBezTo>
                    <a:pt x="50" y="181"/>
                    <a:pt x="59" y="187"/>
                    <a:pt x="68" y="191"/>
                  </a:cubicBezTo>
                  <a:cubicBezTo>
                    <a:pt x="87" y="199"/>
                    <a:pt x="108" y="202"/>
                    <a:pt x="130" y="202"/>
                  </a:cubicBezTo>
                  <a:cubicBezTo>
                    <a:pt x="135" y="202"/>
                    <a:pt x="140" y="202"/>
                    <a:pt x="145" y="201"/>
                  </a:cubicBezTo>
                  <a:cubicBezTo>
                    <a:pt x="150" y="200"/>
                    <a:pt x="155" y="199"/>
                    <a:pt x="159" y="197"/>
                  </a:cubicBezTo>
                  <a:cubicBezTo>
                    <a:pt x="169" y="194"/>
                    <a:pt x="178" y="190"/>
                    <a:pt x="187" y="184"/>
                  </a:cubicBezTo>
                  <a:cubicBezTo>
                    <a:pt x="206" y="173"/>
                    <a:pt x="223" y="159"/>
                    <a:pt x="240" y="145"/>
                  </a:cubicBezTo>
                  <a:cubicBezTo>
                    <a:pt x="274" y="118"/>
                    <a:pt x="308" y="89"/>
                    <a:pt x="347" y="66"/>
                  </a:cubicBezTo>
                  <a:cubicBezTo>
                    <a:pt x="366" y="54"/>
                    <a:pt x="386" y="44"/>
                    <a:pt x="406" y="35"/>
                  </a:cubicBezTo>
                  <a:cubicBezTo>
                    <a:pt x="427" y="26"/>
                    <a:pt x="448" y="19"/>
                    <a:pt x="470" y="14"/>
                  </a:cubicBezTo>
                  <a:cubicBezTo>
                    <a:pt x="513" y="4"/>
                    <a:pt x="558" y="0"/>
                    <a:pt x="602" y="3"/>
                  </a:cubicBezTo>
                  <a:cubicBezTo>
                    <a:pt x="558" y="4"/>
                    <a:pt x="514" y="10"/>
                    <a:pt x="472" y="22"/>
                  </a:cubicBezTo>
                  <a:cubicBezTo>
                    <a:pt x="430" y="35"/>
                    <a:pt x="390" y="54"/>
                    <a:pt x="354" y="77"/>
                  </a:cubicBezTo>
                  <a:cubicBezTo>
                    <a:pt x="345" y="83"/>
                    <a:pt x="336" y="90"/>
                    <a:pt x="327" y="96"/>
                  </a:cubicBezTo>
                  <a:cubicBezTo>
                    <a:pt x="318" y="102"/>
                    <a:pt x="309" y="109"/>
                    <a:pt x="301" y="116"/>
                  </a:cubicBezTo>
                  <a:cubicBezTo>
                    <a:pt x="284" y="130"/>
                    <a:pt x="267" y="144"/>
                    <a:pt x="250" y="158"/>
                  </a:cubicBezTo>
                  <a:cubicBezTo>
                    <a:pt x="242" y="165"/>
                    <a:pt x="233" y="172"/>
                    <a:pt x="224" y="179"/>
                  </a:cubicBezTo>
                  <a:cubicBezTo>
                    <a:pt x="215" y="186"/>
                    <a:pt x="206" y="193"/>
                    <a:pt x="196" y="199"/>
                  </a:cubicBezTo>
                  <a:cubicBezTo>
                    <a:pt x="187" y="205"/>
                    <a:pt x="176" y="210"/>
                    <a:pt x="165" y="214"/>
                  </a:cubicBezTo>
                  <a:cubicBezTo>
                    <a:pt x="159" y="216"/>
                    <a:pt x="153" y="217"/>
                    <a:pt x="147" y="218"/>
                  </a:cubicBezTo>
                  <a:cubicBezTo>
                    <a:pt x="144" y="219"/>
                    <a:pt x="141" y="219"/>
                    <a:pt x="138" y="219"/>
                  </a:cubicBezTo>
                  <a:cubicBezTo>
                    <a:pt x="135" y="219"/>
                    <a:pt x="133" y="219"/>
                    <a:pt x="130" y="219"/>
                  </a:cubicBezTo>
                  <a:cubicBezTo>
                    <a:pt x="118" y="219"/>
                    <a:pt x="107" y="218"/>
                    <a:pt x="95" y="217"/>
                  </a:cubicBezTo>
                  <a:cubicBezTo>
                    <a:pt x="84" y="215"/>
                    <a:pt x="72" y="211"/>
                    <a:pt x="62" y="207"/>
                  </a:cubicBezTo>
                  <a:cubicBezTo>
                    <a:pt x="51" y="202"/>
                    <a:pt x="40" y="195"/>
                    <a:pt x="32" y="187"/>
                  </a:cubicBezTo>
                  <a:cubicBezTo>
                    <a:pt x="23" y="179"/>
                    <a:pt x="16" y="169"/>
                    <a:pt x="10" y="158"/>
                  </a:cubicBezTo>
                  <a:cubicBezTo>
                    <a:pt x="5" y="147"/>
                    <a:pt x="2" y="135"/>
                    <a:pt x="1" y="123"/>
                  </a:cubicBezTo>
                  <a:cubicBezTo>
                    <a:pt x="1" y="120"/>
                    <a:pt x="1" y="117"/>
                    <a:pt x="0" y="114"/>
                  </a:cubicBezTo>
                  <a:cubicBezTo>
                    <a:pt x="0" y="113"/>
                    <a:pt x="1" y="111"/>
                    <a:pt x="1" y="110"/>
                  </a:cubicBezTo>
                  <a:cubicBezTo>
                    <a:pt x="1" y="108"/>
                    <a:pt x="1" y="107"/>
                    <a:pt x="1" y="105"/>
                  </a:cubicBezTo>
                  <a:cubicBezTo>
                    <a:pt x="2" y="99"/>
                    <a:pt x="3" y="93"/>
                    <a:pt x="5" y="87"/>
                  </a:cubicBezTo>
                  <a:cubicBezTo>
                    <a:pt x="9" y="76"/>
                    <a:pt x="15" y="66"/>
                    <a:pt x="22" y="56"/>
                  </a:cubicBezTo>
                  <a:cubicBezTo>
                    <a:pt x="29" y="47"/>
                    <a:pt x="38" y="39"/>
                    <a:pt x="48" y="32"/>
                  </a:cubicBezTo>
                  <a:cubicBezTo>
                    <a:pt x="57" y="26"/>
                    <a:pt x="68" y="20"/>
                    <a:pt x="78" y="16"/>
                  </a:cubicBezTo>
                  <a:cubicBezTo>
                    <a:pt x="89" y="12"/>
                    <a:pt x="100" y="9"/>
                    <a:pt x="111" y="8"/>
                  </a:cubicBezTo>
                  <a:cubicBezTo>
                    <a:pt x="123" y="6"/>
                    <a:pt x="134" y="5"/>
                    <a:pt x="145" y="5"/>
                  </a:cubicBezTo>
                  <a:cubicBezTo>
                    <a:pt x="157" y="5"/>
                    <a:pt x="168" y="6"/>
                    <a:pt x="179" y="8"/>
                  </a:cubicBezTo>
                  <a:cubicBezTo>
                    <a:pt x="201" y="13"/>
                    <a:pt x="222" y="22"/>
                    <a:pt x="241" y="34"/>
                  </a:cubicBezTo>
                  <a:cubicBezTo>
                    <a:pt x="260" y="46"/>
                    <a:pt x="277" y="60"/>
                    <a:pt x="291" y="7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defTabSz="914400" rtl="0">
                <a:defRPr/>
              </a:pPr>
              <a:endParaRPr lang="zh-CN" altLang="en-US" sz="1800">
                <a:solidFill>
                  <a:prstClr val="black"/>
                </a:solidFill>
                <a:latin typeface="Calibri" panose="020F0502020204030204"/>
                <a:ea typeface="宋体" panose="02010600030101010101" pitchFamily="2" charset="-122"/>
                <a:sym typeface="Lato" panose="020F0502020204030203" pitchFamily="34" charset="0"/>
              </a:endParaRPr>
            </a:p>
          </p:txBody>
        </p:sp>
        <p:sp>
          <p:nvSpPr>
            <p:cNvPr id="12" name="Freeform 38"/>
            <p:cNvSpPr>
              <a:spLocks/>
            </p:cNvSpPr>
            <p:nvPr/>
          </p:nvSpPr>
          <p:spPr bwMode="auto">
            <a:xfrm>
              <a:off x="5570" y="1528"/>
              <a:ext cx="1086" cy="522"/>
            </a:xfrm>
            <a:custGeom>
              <a:avLst/>
              <a:gdLst>
                <a:gd name="T0" fmla="*/ 458 w 458"/>
                <a:gd name="T1" fmla="*/ 0 h 218"/>
                <a:gd name="T2" fmla="*/ 442 w 458"/>
                <a:gd name="T3" fmla="*/ 3 h 218"/>
                <a:gd name="T4" fmla="*/ 427 w 458"/>
                <a:gd name="T5" fmla="*/ 7 h 218"/>
                <a:gd name="T6" fmla="*/ 397 w 458"/>
                <a:gd name="T7" fmla="*/ 17 h 218"/>
                <a:gd name="T8" fmla="*/ 339 w 458"/>
                <a:gd name="T9" fmla="*/ 44 h 218"/>
                <a:gd name="T10" fmla="*/ 234 w 458"/>
                <a:gd name="T11" fmla="*/ 115 h 218"/>
                <a:gd name="T12" fmla="*/ 208 w 458"/>
                <a:gd name="T13" fmla="*/ 135 h 218"/>
                <a:gd name="T14" fmla="*/ 182 w 458"/>
                <a:gd name="T15" fmla="*/ 154 h 218"/>
                <a:gd name="T16" fmla="*/ 126 w 458"/>
                <a:gd name="T17" fmla="*/ 188 h 218"/>
                <a:gd name="T18" fmla="*/ 96 w 458"/>
                <a:gd name="T19" fmla="*/ 202 h 218"/>
                <a:gd name="T20" fmla="*/ 64 w 458"/>
                <a:gd name="T21" fmla="*/ 211 h 218"/>
                <a:gd name="T22" fmla="*/ 0 w 458"/>
                <a:gd name="T23" fmla="*/ 218 h 218"/>
                <a:gd name="T24" fmla="*/ 62 w 458"/>
                <a:gd name="T25" fmla="*/ 202 h 218"/>
                <a:gd name="T26" fmla="*/ 119 w 458"/>
                <a:gd name="T27" fmla="*/ 176 h 218"/>
                <a:gd name="T28" fmla="*/ 172 w 458"/>
                <a:gd name="T29" fmla="*/ 141 h 218"/>
                <a:gd name="T30" fmla="*/ 198 w 458"/>
                <a:gd name="T31" fmla="*/ 121 h 218"/>
                <a:gd name="T32" fmla="*/ 223 w 458"/>
                <a:gd name="T33" fmla="*/ 102 h 218"/>
                <a:gd name="T34" fmla="*/ 333 w 458"/>
                <a:gd name="T35" fmla="*/ 32 h 218"/>
                <a:gd name="T36" fmla="*/ 394 w 458"/>
                <a:gd name="T37" fmla="*/ 9 h 218"/>
                <a:gd name="T38" fmla="*/ 426 w 458"/>
                <a:gd name="T39" fmla="*/ 3 h 218"/>
                <a:gd name="T40" fmla="*/ 458 w 458"/>
                <a:gd name="T41" fmla="*/ 0 h 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58" h="218">
                  <a:moveTo>
                    <a:pt x="458" y="0"/>
                  </a:moveTo>
                  <a:cubicBezTo>
                    <a:pt x="453" y="1"/>
                    <a:pt x="448" y="2"/>
                    <a:pt x="442" y="3"/>
                  </a:cubicBezTo>
                  <a:cubicBezTo>
                    <a:pt x="437" y="4"/>
                    <a:pt x="432" y="6"/>
                    <a:pt x="427" y="7"/>
                  </a:cubicBezTo>
                  <a:cubicBezTo>
                    <a:pt x="417" y="10"/>
                    <a:pt x="406" y="14"/>
                    <a:pt x="397" y="17"/>
                  </a:cubicBezTo>
                  <a:cubicBezTo>
                    <a:pt x="377" y="25"/>
                    <a:pt x="358" y="34"/>
                    <a:pt x="339" y="44"/>
                  </a:cubicBezTo>
                  <a:cubicBezTo>
                    <a:pt x="302" y="65"/>
                    <a:pt x="267" y="89"/>
                    <a:pt x="234" y="115"/>
                  </a:cubicBezTo>
                  <a:cubicBezTo>
                    <a:pt x="225" y="122"/>
                    <a:pt x="217" y="129"/>
                    <a:pt x="208" y="135"/>
                  </a:cubicBezTo>
                  <a:cubicBezTo>
                    <a:pt x="199" y="142"/>
                    <a:pt x="191" y="148"/>
                    <a:pt x="182" y="154"/>
                  </a:cubicBezTo>
                  <a:cubicBezTo>
                    <a:pt x="164" y="167"/>
                    <a:pt x="146" y="178"/>
                    <a:pt x="126" y="188"/>
                  </a:cubicBezTo>
                  <a:cubicBezTo>
                    <a:pt x="116" y="193"/>
                    <a:pt x="106" y="198"/>
                    <a:pt x="96" y="202"/>
                  </a:cubicBezTo>
                  <a:cubicBezTo>
                    <a:pt x="86" y="205"/>
                    <a:pt x="75" y="209"/>
                    <a:pt x="64" y="211"/>
                  </a:cubicBezTo>
                  <a:cubicBezTo>
                    <a:pt x="43" y="215"/>
                    <a:pt x="21" y="216"/>
                    <a:pt x="0" y="218"/>
                  </a:cubicBezTo>
                  <a:cubicBezTo>
                    <a:pt x="21" y="212"/>
                    <a:pt x="42" y="209"/>
                    <a:pt x="62" y="202"/>
                  </a:cubicBezTo>
                  <a:cubicBezTo>
                    <a:pt x="83" y="196"/>
                    <a:pt x="101" y="187"/>
                    <a:pt x="119" y="176"/>
                  </a:cubicBezTo>
                  <a:cubicBezTo>
                    <a:pt x="138" y="165"/>
                    <a:pt x="155" y="153"/>
                    <a:pt x="172" y="141"/>
                  </a:cubicBezTo>
                  <a:cubicBezTo>
                    <a:pt x="181" y="134"/>
                    <a:pt x="189" y="128"/>
                    <a:pt x="198" y="121"/>
                  </a:cubicBezTo>
                  <a:cubicBezTo>
                    <a:pt x="206" y="115"/>
                    <a:pt x="215" y="108"/>
                    <a:pt x="223" y="102"/>
                  </a:cubicBezTo>
                  <a:cubicBezTo>
                    <a:pt x="257" y="75"/>
                    <a:pt x="293" y="51"/>
                    <a:pt x="333" y="32"/>
                  </a:cubicBezTo>
                  <a:cubicBezTo>
                    <a:pt x="353" y="23"/>
                    <a:pt x="373" y="15"/>
                    <a:pt x="394" y="9"/>
                  </a:cubicBezTo>
                  <a:cubicBezTo>
                    <a:pt x="404" y="7"/>
                    <a:pt x="415" y="4"/>
                    <a:pt x="426" y="3"/>
                  </a:cubicBezTo>
                  <a:cubicBezTo>
                    <a:pt x="436" y="1"/>
                    <a:pt x="447" y="0"/>
                    <a:pt x="458" y="0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defTabSz="914400" rtl="0">
                <a:defRPr/>
              </a:pPr>
              <a:endParaRPr lang="zh-CN" altLang="en-US" sz="1800">
                <a:solidFill>
                  <a:prstClr val="black"/>
                </a:solidFill>
                <a:latin typeface="Calibri" panose="020F0502020204030204"/>
                <a:ea typeface="宋体" panose="02010600030101010101" pitchFamily="2" charset="-122"/>
                <a:sym typeface="Lato" panose="020F0502020204030203" pitchFamily="34" charset="0"/>
              </a:endParaRPr>
            </a:p>
          </p:txBody>
        </p:sp>
      </p:grpSp>
    </p:spTree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6" presetClass="entr" presetSubtype="2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6000"/>
                                  </p:iterate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PRING_ULTRA_SCORM_COURSE_ID" val="C4E7C092-4C93-41DA-99AD-1DD63ADC74DC"/>
  <p:tag name="ISPRING_SCORM_RATE_SLIDES" val="1"/>
  <p:tag name="ISPRING_SCORM_PASSING_SCORE" val="100.0000000000"/>
  <p:tag name="ISPRING_SCORM_ENDPOINT" val="&lt;endpoint&gt;&lt;enable&gt;0&lt;/enable&gt;&lt;lrs&gt;http://&lt;/lrs&gt;&lt;auth&gt;0&lt;/auth&gt;&lt;login&gt;&lt;/login&gt;&lt;password&gt;&lt;/password&gt;&lt;key&gt;&lt;/key&gt;&lt;name&gt;&lt;/name&gt;&lt;email&gt;&lt;/email&gt;&lt;/endpoint&gt;&#10;"/>
  <p:tag name="ISPRINGONLINEFOLDERID" val="0"/>
  <p:tag name="ISPRINGONLINEFOLDERPATH" val="Content List"/>
  <p:tag name="ISPRINGCLOUDFOLDERID" val="0"/>
  <p:tag name="ISPRINGCLOUDFOLDERPATH" val="Content List"/>
  <p:tag name="ISPRING_PLAYERS_CUSTOMIZATION" val="UEsDBBQAAgAIAEKMC0daf7mZOgQAAOEOAAAdAAAAdW5pdmVyc2FsL2NvbW1vbl9tZXNzYWdlcy5sbmetV/9u2zYQ/r9A34EQUGADtrQd0KIYEge0xNhCZMmV6DjZDwiMxNhEKDGTKLfZX32aPtieZEfKbuymg6R0gG2YtO+7091335HHpx8LiTa8qoUqT5zXR68cxMtM5aJcnTgLevbzOwfVmpU5k6rkJ06pHHQ6ev7sWLJy1bAVh+/PnyF0XPC6hmU9MquHNRL5iTMfp240m+PwKg2iSZSO/YkzclVxx8p7FKiV+qP64Ze37z6+fvP2x+OXW8s+QMkMB8EhFLJIb171AAppHAUpoJEgDckldUbmc5hdtKCBHxJntP0yzHoekwtnZD477RZxTEKaJoHvkdRP0jCiNhcBocRzRleqQWu24UgrtBH8A9JrDpXUouKoliK3P2QKNsqGdznzohn2wzQmCY19l/pR6IwSVVX3P1lY1ui1qsBdjXJRs2vJc+sTOGN/v6t4Da6ZBk4heOm1gH+qgonyqNN1jJd+OElpFAVJSkJvt+OMSJkjr2LGzUCUGCckBoCK1bx6gm1qWWbNEZZyGMLUn0wDeFMTwlSs1hLeemgccwI1mPOyywo4QmJgV5Iso9gzSQNXiKE7VtcfVJUf8GO/UF3AfuhGQEGX7oFTg7EDhhoLUI6q4pnuApuRJMETko6jSyAy9F00xCI6h3Y7H2JxRRJoEZJ02YT4wp9gQ3jTYjv+7/orY4bO8h6xLAM7k76NUE0NOyal0AW20+phXhLyfgFV83HwjS5uASGxtl4rseEQQpV3swc0xSWe4c/7hf9beob9gHgpEMqLlim1YmecMZCHUmnEpFTmAcAvyzeszDi65hlrgPD38Ldc5PZvptg2kr8a8TdieistL7aqFHrk8sXRwNAOhOxxhEVTQ3ha8+JOd7neC/8pURhi/2cIfR59oP+kbdaxDx0wFqq/BQF5NoIEiir7W/nhGTiatz0PouCXNwN8htEWIFToqRgXkKqDEC4ghQPsl2Sc+BSG7ZJf10J3zjFb2bZA3y5qBgcHyTV/KOw1v1HQE5KzTTvOQNZspTsLujctD7SH+jSAkEMAXLUjESClKCD+vAfmYkZ2GWgl4+BJlqqRuW1RKW6tbEBum4I/nsM3lSrsrmT1jrytap1+TxTtw8Wt0/mAeZIQHLvT1MWhS8wRzjSN7GkEXDQxBTRJAzw25kDKgulsDVp5o5oy7wnUnsI8coYBbJvShLMqW//z6XNPjK8iaXfRdvfXQSDQYUaIyBew30Olef1nFwjF40M7u+hjtT217ux6HmKpD3T4X06HrNX0QhWwddTtF9i2LRqmFLvTGRAysfxTTZV1j959hBmOz0FU7PnKGc1YdQuKRJWSg1Bsqg0B9TDvDxeHRktR8iG236fp5oGpP0+x59lbFDSfFNltO7xyOCtm2+uUhOtUXzB3ikMQvK/weC70QEA7I3byAo3erh/afPN4ZHxZ1fYyevxy7276L1BLAwQUAAIACABCjAtH9T+SSB0EAABjEQAAJwAAAHVuaXZlcnNhbC9mbGFzaF9wdWJsaXNoaW5nX3NldHRpbmdzLnhtbNVYzXIaORC+8xSq2coxxs7iXccFuLA9lKnwtzBZJydKzDSM1hppImkg5LRPkwfLk2wLGTzYjiO85dRu+YDp6f76R1+re6iffc44WYDSTIpGcHRwGBAQsUyYmDeC91H79UlAtKEioVwKaARCBuSsWannxZQznY7BGFTVBGGEPs1NI0iNyU+r1eVyecB0ruxTyQuD+Pogllk1V6BBGFDVnNMVfphVDjpoViqE1J2oJ5OCA2EJhiCYjY7yNqc6DapObUrjm7mShUguJJeKqPm0Efxy0rJ/Gx0HdckyEDY53UShFZtTmiTMxkP5mH0BkgKbpxj40WEtIEuWmLQRvKlZGFSvPoRZg7skqIW5kJiNMLf4GRiaUEPdV+dQwQwUlhV006gCEHRHVtI08NlsBU6UrATNWBzhE2JL1Qguo8kobIejsH8RTt6Pui5Ub4uoE3VDL5vhKByH/SgcTc47gz0tnuMl7LU63T1trsPzcSfa11O/1dvXZHg16PvZXH0chqNup/9uEg0G3agzvLNaH33pkOvVXb7UkVeyUDus2PTLMJVG3iOHBoP9yqmaQyTbDFk8o1xDQP7KYf5HQTkzK8tsbOsbgLylc4jNyNK2EVgqBndwDhBDQ2elnjje9sTb2k72Vee+lNnjgdapMTROsX/Mhv5lyUZrJsUO8+13MpU82aYE2RSSPs2gdCuMb5hoo+ZRQGZ4EByTbSlGeUCYweTjrbEuptows76H2mVNglh43wHpjR8UI06pwhR1WX5bd9v6cTMUCblUdImXnKuHE39PfQjCR+0Ka89t/UH5qIeK6j00SYtzH+XRhok+yj2qbkCRSErupT/ccIV0xEx6xZ5R5hX3NUw1M+Cjes68XF/LgidkJQvC2Q0QIwlGX2T4XwqkPAnITMlsLcVhZYjmDHm1YLCE5MzH0Ud0kRVoiXMy52Cch08F+0KmMJMKcYEukGwoZ9rhH+wFnFOt70DpJsZX427nMpx0+pfhh1c2QZosKM6m/cCxrSHLzUvgU8xdSHTBucRqliCwMjEtkNb2fBKWrNV80vT2ndLF+tDtQa5B8bgZxuMw8UGMFxATBfgCxlQQKfiK0BjbS1sKLZgsNEocWRy0flaAzpQwsQ51jvckOlOJ3wVxePTm19rxb7+fvD09qH77++vrJ41uh9+QU+vNTb+LJzcNb8t7W80P7L67p3jb7RvpEzuLt+Ujm4u37f39xdvwwRbzA8sndpntFvBwTNardnw/Ps3Xa8d/cZhjkf70aZJ++CHyas1w7AU38NEavPOc2XYuDUszySsEHCpzN8FwrHCW4fxMftp98TKsfgYz/9We6Wj9Msz0LfNP7sb/Tcru2/aVa+cda/vesvsub59kTLAMC2En6vYHgOZx7RDf2h59VKkg2u4PI83KP1BLAwQUAAIACABCjAtH2MZ1ibgCAABPCgAAIQAAAHVuaXZlcnNhbC9mbGFzaF9za2luX3NldHRpbmdzLnhtbJVWbW/aMBD+vl+B2HfSvdJJKRKlTKrUrdVa9buTHImFY0e2Q8e/n8+xGxsIZFiV8N3znM/n546makv54sNkkuaCCfkMWlNeKrR424QWN9Os1VrwWS64Bq5nXMiasOni40/7SROLvMQSO5BjORuSQ3/M3H7GUNwZ3+a4hgi5qBvC9w+iFLOM5NtSipYXF1Or9g1IRvnWIK9+zFfrwQMYVfpeQx3ltL7GNY7SSFAKMKXva1wXWYxkwPxJV/YzktMfdf72B7QdVVRb2vITriFaQ0qIi3y9xDWM5yZ6/CpzXOcJGv5qA/3yGdcglJE9yDj43VdcgwzRtM3/aKSRosSCxpzzj/jOYYIUpv0wqytcFwl4ITzo4iu48ti73gUg9zXs+xTbVQr2hHU9GAj46BmDhZYtpInfdT5VibfHVpv+gMWGMGUAoakHPZmkn0irfJjY1uP+wBvlRQByhh7xKlhbw6rLNwDG9h6/Wt3aURHm924LEpSwc8Ygw97YI3+bsh4hA2OPfGa0gEfO9kfwQ0/H8U98S9xjnq++8QInZuvr5Xfeiyc9YOOq4Ghn8JhaFLBQmM4LrQFfLU2srUspOcop5WRHS6Kp4L8Ql+3tZVSaHDic0k7rKtVUMzglN5ujGdLhe9n9ZTV2vwn93br9RJsRfjMlWpO8qs1vkppOHM/0iAkzTU4zcEgaOMh7vhEjOTWRW5AvQrCxp3ChIcTaaw+BRddYQ/A0CUqQJqdrnLogp4rP2zoDuTZvRsGLJrZ1uIqWFTN/+pXCGxQxYcDZMXVlwnFC3zUZGJwAgMi88ortNp2nbpmmDHbg+z4w2AsP3SxVRqFDYlvqB9joUG7OMkqPbkz0QglxseME4dXkJeKBEzpiybvAseY1yZS9WdT1fgD3kaOR7CcZSi8cYnbvlBQFNv7jChoj/iP5D1BLAwQUAAIACABCjAtHUnSEue8DAAB0EAAAJgAAAHVuaXZlcnNhbC9odG1sX3B1Ymxpc2hpbmdfc2V0dGluZ3MueG1szVjNcho5EL77KVSzlWMYO+vsOi7Ahc24TAUDC5N1cqLEqAGtNdJE0kDIaZ8mD5Yn2RYyGGyHCFeS2vLBnp7ur3/0tbrH1bNPuSAz0IYrWYuOKocRAZkpxuWkFr1LL1+eRMRYKhkVSkItkioiZ/WDalGOBDfTAViLqoYgjDSnha1FU2uL0ziez+cVbgrt3ipRWsQ3lUzlcaHBgLSg40LQBf6yiwJMVD84IKTqRdeKlQIIZxiC5C46Kq5sLqLYa41odjvRqpTsQgmliZ6MatFvJw33s9LxSE2eg3S5mToKndieUsa4C4eKAf8MZAp8MsW4jw6PIzLnzE5r0atjB4Pq8WOYJbjPgTqYC4XJSHuHn4OljFrqH71DDWPQWFUwdatLQNAt2YamhU92LfAitpA051mKb4irVC1qpsN+cpn0k85FMnzXb/tQgy3SVtpOgmx6/WSQdNKkPzxvdfe0eI6X5LrRau9pc5OcD1rpvp46jet9TXpX3U6YzdWHXtJvtzpvh2m3205bvXur5dFvHHI13uZLFXmlSr3FilW79KbKqgfkMGCxXQXVE0jVJUcWj6kwEJF/Cpj8VVLB7cIxG7v6FqBomAIy23e0rUWOitE9nAfE0NDZRk+8XvfEm+Ot7GPvfiOzpwOtUmtpNsX+sSv6b0pWWmMlt5jvnslICbZOaYyVFphNQ3MqIsItZpet31pXA3vJBZ6Bsz2qjKV9lF42pRqDNpvyu0q6Zs7qiWSkqekcby2foRd/S70HMkTtCqspXEVBh6gnmpo9NElDiBDl/opbIcrXVN+CJqlSIki/tzp90pJjFRR7TnlQ3DcwMtxCiOo5D3J9o0rByEKVRPBbIFYRjL7M8a8pkM27nYy1ypdSQY0lRnAGZMZhDuwsxNEHdJGXaImDrxBgvYePJf9MRjBWGnGBzpBsKOfG41f2Ai6oMfegdBXji0G71UyGrU4zef/CJUjZjOK02Q8cGxXywv4MfIq5S4UuhFBYzQ0IrExGS6S1Ox/G2VItJM1g31M6Wx66O8glKB43x3g8Jr7I8ALhsoRQwIxKoqRYEJphexlHoRlXpUGJJ4uHNs8K0JsSLpehTnAdQmeahV0Qh0evfj9+/cefJ29OK/HXf7+83Gl0N856gjpvfp5d7Nwdgi0f7Cnfsfvm5hFst2+kO7aQYMsndpFg24cbSbDho73kO5Y7tpP1XH88JquxG6pPz+flIvFrxjOm/XcI7TvJ+zSo2ZJBEFw3RKv7NnAKu0nT25gyQSHgmJj4mYSDQvAcJyL7ZTfAz+HpM7i2exf0TPxBXAst3I/umP9vEv5p/emy9a2y3v+3v4kPUL79n4L6wX9QSwMEFAACAAgAQowLR1mugxqhAQAALAYAAB8AAAB1bml2ZXJzYWwvaHRtbF9za2luX3NldHRpbmdzLmpzjZRNb8IwDIbv/Ioqu06IfcJ2Q4NJSBwmjdu0QyimVKRxlIQOhvjvq8NX06aD+NK8ffo6duVsW1GxWMyi12jrnt3+w987DUizegW3vi4a9Ix0ZkQ6g0magUglsAqSHz89ybszETJm0plON59ka0p+DOnNnAtTxlXAQgc0E9DygPYT0NahxL9eZYeq9hWV2jxdWYuyHaO0IG1bos64Y9jNu1vlAisw5qAvoHMeg2fadauJPDs+dSnKXIyZ4nIzxgTbUx4vE40rOWvKv9go0MUPX+6Bzkv3bejZidTYkYWsmnjYo2gmlQZj4JD3eUgRhAWfgij5dtz6B/WM6wVV6Dw1qT3S/TuKMq14ArUu9foUPiYLr1o3uxR1zsLa7omHewqPEHwDumY1eKTwQFQrdcUPVBoT6kgNrff8hArks1Qmh9QdiiBHhyXbpu6dC3XHHzBvhLAyQovARGZNF8cVU2+Dg2sqWcehmRchMZQXA5oKfZyfRO80tnqN0P4rYtxaHi+y4nYobkbqOJjiGfRIzpGEjOsl6AmiKOr5vnRy/3LetXZ/UEsDBBQAAgAIAEKMC0ca2uo7qgAAAB8BAAAaAAAAdW5pdmVyc2FsL2kxOG5fcHJlc2V0cy54bWydjzEPwiAQhXd+BbldsFvTAN1M3Bx0NhVRSejRcNT684XUGGeHS+5d3vdeTvWvMfCnS+QjamjEFrhDG68e7xpOx92mBU55wOsQIjoNGIH3hinftHhIjlwmXiKQNDxynjopl2URnqZUEiiGOZdgEjaOsswYUVZSTisKK9v5v+jPDQxjnKvL7EPeoyl7UauFU7IaKnN2KDzeIshqUPLrrsrOlEtFEUr+PGbYG1BLAwQUAAIACABCjAtHlBOzImkAAABuAAAAHAAAAHVuaXZlcnNhbC9sb2NhbF9zZXR0aW5ncy54bWwNzDEOgzAMQNGdU1jeKe3WgcDGVpbSA1jERZEcG5GA4PZk+8PTb/szChy8pWDq8PV4IrDO5oMuDn/TUL8RUib1JKbsUA2h76pWbCb5cs4FJliFLt4mjiUyjxSLHHYRqOFTXv/AHpuuugFQSwMEFAACAAgAg4CPRc6CCTfsAgAAiAgAABQAAAB1bml2ZXJzYWwvcGxheWVyLnhtbK1VTW/bMAw9p8D+g6F7raRd1zSQW3QFih3WoUDWbbdAtRlbi215klw3/fWj/G3P6VZgBwM2xfdI8ZE0u3pOYucJlBYy9cjCnRMHUl8GIg098vD19nhJri7fHbEs5ntQjgg8kqfCAnhMnAC0r0RmEHzPTeSRnsFFZuJkSkglzB65z5C7i7Qk745m6JJqj0TGZCtKi6JwhUZEGmoZ55ZEu75MaKZAQ2pA0SoN4jTYlfk7Gp9EptTsM9A9ZGbeHrgmaTmetRiQFKeuVCE9mc8X9Mfd57UfQcKPRaoNT30gDlZyVpbykfu7OxnkMWhrm7EqyTUYY5MobTNmVmKxTB2tfI9UDpsEtOYhaDdOQ0IrLJ0As23MdVTz6AGt5dU7UfOWfhv7vWncSuVo55zlj7HQER71IZ11EsjoMCpLyuuWHfTQdNCtZSKOgl+5UBCUn9/aFpkvSBWw7bgyT1cXPh7g2y33jVT7G4RhF9UKuq1obiWaW4JaDreNvu4oSHPbLXCTK2hKNWNPIgD5hSvFbVtcGpUDoyNjjaVDMKPVlWuROkFYZJL47B+0sX4jaX7q15QpAf9DmE9I1NZEpAE83wr0MZBgTQ1gsa3NNVns2phdTjp/THp9PTBVOdai4EUcw1UIOIYBN5x2dnoICoprdPFzNcL2Dg6CIxFGMT5mkmF8epAm4Wo3ydA7OAiOpb+bgLbmtox0XMdRM7UdxOjEOmF+ro1MxEvZnoM9Y1ZlH742cs3RdSbag/P5H6M4iNEM5pZMrC771ttXzeG9nVOjO59NVlkG3YrzACbPKq9mFvJs5BPAluexuenn1OzDHnSU89R0THN9x36XxVq8gFOIwP7pFqe2JhHYnvHIh+VpjwH1xO0yCF+apiIyWktSqXlIOYa1eRJQVJhqVj6i6qGSeRqMtHGz7uegY9xV1wq4E8MWM12cYPPJzCPv8aW+y8XZRXeV88VFgy3zuq8CV7m8YVXXCXedQet+bS/C6pnH199QSwMEFAACAAgAQowLRzXb2a1oAQAA8wIAACkAAAB1bml2ZXJzYWwvc2tpbl9jdXN0b21pemF0aW9uX3NldHRpbmdzLnhtbI1S22obMRB9z1eI/IAljW4LW4OuxZCHQhPyvPWqYYmjLSuFhKKPrzatcdy6tJqnmXPmDDM6fX6ckn3OZX6avg9lmtPnWMqUHvL2CqF+Px/m5dMScyx5c6rcT2mcX3bp67zWWjWXIY3DMtoVzVuMwttDSmrlVMuYYRRJ5qlXyHluG9aB68A2zFFi+81vEj91l7iPqVxW7Tdn6J8Nu5TjUnZpjK9bOGe/h843+LgM49R4eSvYGvU4tTq2BmKES+4r1QAgkOWOOFyl7KQmyGPGMVSjKFBAhHPSiUok5dCy0ImmwnwnEJOMUVepp60baW0ctVVCR4hu07zqbA3BSIwRIQSYq1xAMBg1NjQNDWo9IDgwIKo2mihAwQYTWPXOC8uRol5gXJkxgPHpuKft3p/rVP3vdY7n/IfgxS+4iK7e2lwwV79/XpZGvo1P3w5DiejLkONu/HAd7m5urn958s2/R8Zq1LbxX339A1BLAwQUAAIACABDjAtHHvMfdXcWAAAYLAAAFwAAAHVuaXZlcnNhbC91bml2ZXJzYWwucG5n7VprXJJn/6fHZmszLXtaWiqZmW75mGjzkAeyLJsdXGtJLpQUyWdqKZoayqHmlloqmZY6DzS36ZYHBqbmCbSMGwOlVp4CxURlikhIgsjpf2vt+Tzvns//vS/43Hyvm/u6vr/z7+K+sr88Gbjho20fQSCQDV8cDfgKAllrD4EYJX5oDI6c2YU9DV7WJH0VeBBS32c1DYK10f4n/CEQGvljbcQHIF6fcDQ0CQIxfbz8WQPE/xYFgeyp+yLA/+sr4dKREzfjED+x5PgqPAR+oOqg8XiA62aY3RYTx89ue95yDPguyMXycOG9v3as7TLZxziww/wfm7qjzNev3ZfHvZlNkL0YvdPW13d/bmbuPrFvWsF/83ONKv0MYuH3BdkIYc6rpMoMrn0zoVMJ4ThZh+pkh6LPG2QEKXLfdijtUOtjH8I/7ekJjTBwqPOnX+A50/uC8G+61nG2rAFHTP9lPb4vSCuGG0Lrlx9KcJrepFps3AB+HWv9NVCgmGuTOW/9BwitjqV1+9YsywoBdgcJrs+jfm1/8+hjDkaAZ+jBqUcOFj7cYFk4OoLXrYFcbXviX9mNJvum3BRXpPfdm/moHv3lUptQN4ceTZPUTbZ6dB2eE97cy7jSqo+ldjQhiXGD8gWe5G1JdEWoM0cbxukr0NksYTktXCHqQpEvz1bzb0I5OK/R4ex0UMiJnzJtlv59781YhlmFz5tOo+oQSVKTxKKQKEsXeucGWuLFohfBcMJ+2WQRKrxe+Obl6WDruM5iTROPMXpFlPsiOT6tkB3r3vTTbkq0HoNqG1Y+E/sFZmtAad8KWGJErjngiYJAzpPW3TTneygtBQKSQVdtNIrzE7fVO9KsLzsc3bWWq/hRuWG9ZigVFepw7ULjbCsSUciWJHn/xhOjx+A84SBtndruaO3dsOuOoKrDAm+a5/vzLA7sOokf30zxDPNwfWMpwYT6QTlT1/4sCPZTP9eyt1iiQ/0oZG9i2o98y3afebZdtWTiYYmHMRI9OqSki1Oc6hzzeW7wZmDLP+Ha12bBYntXTPgls1C/pl467ZLf1I0MmhN5uH3k4TY7/q7vcmr2TWEU7iIf3iueEulGcpc5NJPUHBTxAcXKQDFoxcAcaqDXHc3EWj+faq0MCD/HX3QJ91Bo26tYCji1QL6N43Who70P0M9jy9IZ4aEkfDl9big4Z/DPGHgJ8/YCSx7dsj+2UTakSme3k8s4M7i1oKcMnCIS7OaN4Ua3YRu5nUSb7r6unRzWjkikX8W1g029Ulr43V5YRG0RH5ZXDoqZk9xAsfKmkJPY8iP4h9yW3GTya5CMPuWgTamt0QIWBUB8jZ46cQi8MZ8MlRMPcIJyEr2hDbM8kl4xLW4pl4r3mNHjZqOt7BR0J3EBBj1CMwhGo+EiJLC/AYdqKdf8qOhVrt/glXIXU447UIoJTRXInDhy1jz6Yb1jPppLfY7nKnwViqWedkGfJCKuCPDk52FayrNgfamzHuTTTds1NhSyLmcQzTCu0c3Sb5gPq7Sv+vxYjCTtrKZdZjsMLBI38l2MQOEB/58DRtniDaSJ6gL0rf3GrjgFHJTQJ+OaCYR1IIJ9YKekVzGP+y7wEpmQhwklmfjRmbTwqDYpgy7F8KTF9XuC4jDP4PUJ7M5007WWD6JxxrhDxonozgqpm6MVSmHLcSONOmusScddNRaSPF0OL8lbImugqJGIKUJvs0gtphgc90XpPasFFYeO5li48rwfSHLMcSN5ezbPw3g6rtCUHeiTFVeKE6WEH0J34CsIUwtu8K3z33C1NLKF0CFEM2wvbsw1L/H4rvsW5DZBpvGN+j63lkkwBcUDkgpRQvYYWv/7XxaXo978cWfSUpt7jWvxMuq8S+B1WwpZ2gSUD/L2K5r4vExOBT8Fnnk57FSkTXH8xYwui8XoUSejJadg7lFPNjHQia2tLajZ0MTHQFp9j0Rp1EpPoDY1XxfXq3k1qoqDtpSr0SiF1FYxleRzHRTBkksejPGbknO1ci0vyddoUb6tJ9axuSGuPYXlZ0eJhiu2HMm/GDhWiinvJ6b0uPMHsVMXoVTaqMtejji0gu81N+Quvp3Eay+TuF8G01hm6gPmp/keKpFDoeVfUeU4FwofXSrHcrfD/XMDrtJORFHQo8qHCkiU95WezhjN5hdOvE6Rq9h9wPc6HxaUs8d+Knm+eNeRiY8yaVQuZ9Bbw5N+f2OT8/W4AszWbPOtI7yBdqqUINxiTzdIhbfYd8z5uMyU8lORoIvtMJLjK9ToZ36oMxtx7Q36s/ECGxbRjnpH7kkNJ+EqotQx8LY41GA+IZ6pV+sLcBqiWQ8uJ6kXhykvM7Rbg4n6CphPcBkUtag61/INNyMDd+u2h0FxFaMtTJ5Fm3i6nmW3is4OAxb3cjBtlQHK/MnQeLyfcUSRV7NcDRPkndqZ8TzOzYb5fRZyU75/mrEs1F3v3n3WQxKlqy1KpjtBFWq/U5FILLYEtIcqlWENTrLrQI44oc8u4kJtutOgtf08nqfAdzdxoad2cqYGj1yK5vvMhe5tBuhDc6mzDuRp7RIHwFcA6Y2UsJBTkW0yOa4PpuExgMHLVqllIk+hQIX1Q0NFGtCtEnzWZZtbOuas6XKKf+vm0iN1ghYdAXye8ehg0NBxGwvXRBh/jB62QOZIWfQ4iih3ctjQfinKxU1ZsAB4oZSCvMn9xr/i4lgQkr0qPR3zaDH9I8uX5PMudyeVZz8R0XJNxgGtyTyARQDFzAt27jlD2PwVudKFDTpPIZeiusPbvJOF5Xn32SKBQRKxd+rzuzzgqo8CiN3RDIC5sFH+Y58aM5xl+rhdGHAN71fZF0plSokpoR316EGGqFZmq1BfEKLLa+EyUB7PvIyA9aYSkJOA8a4e/uCI3e7q2NGmXgJvp358atw96su0VMXCOghk7pPK7ovse2/npiRmEIjgXwHrQee8d7BwudR+9r/AeAUiHDe5dqVeZ5uDlwM/LFcbyNdZq2AVrIJVsApWwSpYBatgFayCVbAKVsEqWAWrYBWsglXwv8ATX1m7om/5z8bO5M324OXqR6eWXwj+tvH/A24cO5zdLCRqJoajKb44rRwItiEuvi7YS5g+1lxehujbKy5RhI2YLb+SjLdxq2fFpt4oI2lno+Ftzx66Si6U0nQxQnDIAAP6t+aZxzPUUz0I5lL/ZM9ofSLDS9avAxmPJYSTdAt8ZeYgIh+LmePP+PHofeXuF0YDGVUageFma0LhlaXp6iKHK20cHHWOd8ZXwXWrDuE02aT99VPBYHi6FK1AXXn9QwFgkz77cvmVHG3SisfZy9Q+RxsESbwRepy+NaoDN+yEaqCNnovvSObQYSQhVVIvZtvmYUfTyD7z7BKV4v7UN8Qs0i/O6Z8XKiAQzwqty+JG2cVLCPjSc/JdVfrd5BD+6Fr1K5uldXpQltQYec8Km6iEVFmHqsL0bQin2ebK2DVy77FnbK3JVRFDM+etexhGFrHRFIt8QNu1Dqp1PB41Bmd8gjXoVDKToGFnaMPFge2c+Xb2ATiHJcXx7/QnTWwEPGM7BIOzcN6kE6XZuxCNirhDkCl6n+MgEKtgosv8Xz+TnYUUwa4ajd+5i0kFE7F4NvS7MM+g2pMzJ2mt8KI7/kjjTHWx/2hMeajxg5o1aKKrn9naBipBCfRPYinrFluCdtjubG42Uq39DV+X6G37Lb73yEsLyaTapb6sZweJcf/1Zspit2ucSVuFXZHvkbnHDwkDaS08kRpf64i1RpyVJr1XEZLWkoZKfFE7p4lr7D1RQF2YYaCuO2K/ELmqCHYHjRsVnYlbEUFICv5EE6rNZFSB3X4zMR355FaCS+UBYxW63IKXabLYjPCdUDQwmt4tdkmMSxtNszvJVZhKixEfmHixZobcxGsgCVbqc0Y1ql0ez2f0vBC+YB+OivuNudc2CPncYkf93d75gr/UDv17LD8kU1hJ+BrqSJY5f03apfh1StgAlOWHkFA8/hIuWLXMwJRhYGS03eiXyC1CgIq6Jq/r/bTomot5EclxkKuHOL9qPdSyo3F1NhnDMaWljkwWrdWw1f7vZZoyHoUaV4Y6H0VS+wfrLe1DNGanIkk1aJCS1eOZoYZ+97YqinbCgbOgou13h3T+NDIBn31ITzO5UHPx0n1tc3UNMLYzIHvPNqPufrpt0YTsGwf/nUwOc+ncP6wQxA/Qpv4KYSFbK9+zDWY4kR06AGXqN4pkvlGjQ4MJA8JCT4lXYj96ti3cO8hn4eVpB2r7/NMelGFp8JhZN+K/hAl5cea7gNq8DZCEo0yDTlYkO3SJ3i9yWXaXjrd/HuMAEahGR1q5MixlS40m6YwmIHttZpihP9K4VWRmYsrv2gnkA14ZCnljz2Dk95kmS4rkL/Zte/3vgBt4qwwVrnQ22mbWYS2XH/e4c7ZdzMbk5YsnD/f9usWeoSiXlWml8SQNE6EhVaN0MwhOMq9hvxL0D1xK+bGqfu1Z6/SmVxe8w5Sw4rplgo6AHvrkEqIGiGx6NbWbkzT2mUFR6og9bDmW2zXqzD8mzpTHbj8nlpIf96DLUeSsTbYs+vdXaU4Ihxy1Atpq1RVZ60GSHjnA1uJ9YjspVE0MEam0GBZ/aK0p44RGTNwPoQJsjz9IWhHUoAqCe3V0tH41vpW5+GSazoVLoIwVfaX0YBOdS0I4qb3kFdz0gqlfoL443/BNKqoGbQSxenpGr+FpIRf2IPryJnHx+/dyNF0ykkEDTSfto7pxNCwaub+/ehhxd1KUMowLIT9ZFjjRuYWsaMfmtUDVPio7CjUKZ8MUVEABNtENLosXX2xyVpw1Qag15pVrEy7XDKJz/ElVeDtk3WZ1Yx4uTf5ka5GREqTDX0jt8ZgIuAbr5bDEItHTFTdDPyVsP933uvbDpIp+2hqIqS3p2PkFPRrVVgVz4WloYadHt1c0U9p53Hl5xSVNRQzyd29j7VZamg/oiH1uVV4mEzq5TzxR1l5O95GR3XpltpsdXXMBUe10rUqkeTgrLNpof/Xncx02p9OAwmuLMeURgw90rBbQkuGpktpv20a1WEzyLBgix38e55FP6Lva44rPWm+HjN0PJyz0T6aTb7L3GT/Nt4Dxtp+KJDKLrrrU061hti/aKXVyI4r6s+/jSj+VNUwlqxrTjr+jJGDC4hGFFhwEy71FiDPzquS6M3IAVS0w5zovOOu7O3rTO0JAv5malT5wL/3lCGxyeyxjuP6+ElSJdKmhoYqGX3hPS4r54dORFip2GCV6R8tUzrwY9co0C+j/uKXjhrm8VKiduqy3+C16f+x533qbYqPuD3fwVSjNN767QfWKS6qxlL2b7SN98tA6KdoCuGGOu1RrU9CQZd75vC6cjH4Kd6qZfKyVmJT0ffZqJf5Nok+g1TPvzbNHHfiW7r8zBDCGPLzfr8m7+bRQlWxpBWRtUF87fpeXMWVyH93WN8SL+XHduGjmhpwRY/KKnPz5TEypIuopobdlUj+5LqGtsjvl1fUfNkW69iLCuXlb7CMXissOF3o+Runniwqg2rF11cFZoVOY4ZjtYyLQzWF1T6VOHAAqtXwR0/Euzjxjt3EQUMRKohtGMNbVTVFX0sKZGpX11sbYbaRfsCY/Bn7JLuxKq28qF5rlqi2RvKmaHUe4bCCudLodBfXjzMBKwMQSXFWmeihsoYCk8HC05hBDPehOx4e7Z5kbYr2lbbOfhaii7btsgweWz3c4CJcGmk8yNCOy0fFlRfdEwzXDL5K713sKZxY8q6Qez8NY8N1gwKFXjPW69lsnFAEZukIZqgbcDJ1x1Iqh5M+fzAxBIIiFN4/N9grTkQFV6qBs2Bsb1j2cFhJr8qxZZu1W7vGHDcJ0gvBysT9XavgSu6kGiAITiU8JS2eB+EisOC6iWVJ4/Douc3f5t/r0bY+v4M2s7f92KHe9XsWk4F9/jPLcYIarnJvv3hxcVl+Q3NAbg+okgXYWlc7UH3vaxMKkqB9+Y/O3nfkLU+Q9K6AsWvs4/1vTzepiXrMEeMdWq+C9Y9tg3M133CTSjSlJwqHo874oLE2m4YWFkHuWs4NrrgaGmr41vfNUpLbrba03UCw1o4FG/g+3RPvuIqZ2EpN1tqd1+ELj3jEmaGM1qbjYQAvtib14vOZP79o833MXG1yDtMVTGJFC/t73CVxyqB7bIxZBa/uXVtLXIxEZzsAbaNTj0RuyEOCCM4erYF/yClWHhgcHhpxZW8xLlB1fpRb1i2Bgjag4rvDiyUjNpyIZ5EOVh2woPp/k84cvCGRSM2XeJvv5srO+NuJN9rvBFmt+morhPo+AUvRvq4OJegWFop0OJo2bKl6AI28HLw/9SzgWQi26ebbDBu080PYoIByNHisnR+v8K98nXo8ZrKB/PkzxzhMIvRGRFSGS+mUf/TCeqVP+avgyKsoFH2LFTn9WW6DyU2hN6G6k9lSuNGxK6noUqgCu6ughZGAl34bzATsmK18t+izTCaqK2COZgPVIpWZyFnGekcbdTpadMeq9JT5YsbkGEPlUdu8idbqSDkWamubvnQNLFv90S0eYPjceL5qIRWleJT7jSOM/3ygOqRnkHK4NJ+fHX0ePUT79wINKi9D6CYrn085Jo1eibMpJPfVj/EANpiTkvRg32eiG8hDJuwJHZSzNzPuyTzSnOS13Aa1F4Wnfqs/O/vyJ/TYwZpQtPMLc2+qfkxKOYl6ZRrrFhzsU/Y6fOU1ZGkoTWIZkJFxqTOtAdoNh88vXZKGZ4HN7ZA5noI++UlNh7xyAepENhvzISiGYBlv1MIZZS08I+fFyV6Z8+yJ4LzSTkG1esA7sT+8Obazxj4sb1Ew4wFuQZL4wZmNf3XsLRbfstKXF65Pzjqt9igql6dkjK7kM+GNlLb+UD7KP1ywgwJTm+SAQSrisDp+o+sbXGPyFxxl9cy5H/4q1I+h4QHbbi/+akxyxohD0O0VZhKw87SHEK4JIqPGTDe8bo0EUiaC2QH7vCAvVLR0hpqZ7Z/W246yZDGz0uQ2PWvpnFhI3DcrJX+fR9iu5y31woL6qc8a358SDVsPy+s+Xa/Gkjul4KvK24VXSQqYzSSdBkfZd7ZVK57U/cbSD9xQHiryBv4mxZSV14QWZD3gyupcZ5KqoJU/l2ZzRT6DUNbV8a6oOVzw6Nb6f+CjVRKN9+caMtPh4GhK33bpPUcLDT00AcL08sZMjlZLBpgIwHhPM3ERpx+dBigDjl72aPhiYbVdmfXpmokbl4HFYf/3RDBHc1MTwS3eiRP06Ru3HgdnejUTpuUTG/B1qGV5RKkSyMu/Ull4M0fxDjyIKZy0MRzGUreow9+XW1wfQvz7G9xM9LcU/YcOIi8mvHbEOfj3O850dctb2atK5cQnYA7oeNAn2kXdP7w/14NcqP4BAEpp7zI5eiiweSkXiTj8+Pvfi3aObgKX1Qhhyqvp6tgnYe7TE+UKb/cf5Qr1yGiMN3X0U3MwJZk5uc5sTVYqetun0qO5fK7tHxtViChw3kR940lDz7F3NAX94Hl65fIjlS9ug5cMtW94BLK9NxmhD/udgartBr+H8sHIE9bYNlpcJJT5Efvj3zTKtbCJm/cpBmF8ORe3PNS/R62SkvYjlmTwL32bCCP+0dyW86VrnAO6yRhPtlnelnKD4o6mLhumJCRKkKeo8G3qkZZk15IvDJwPqD57/7v8AUEsDBBQAAgAIAEOMC0eRgxoFTQAAAGsAAAAbAAAAdW5pdmVyc2FsL3VuaXZlcnNhbC5wbmcueG1ss7GvyM1RKEstKs7Mz7NVMtQzULK34+WyKShKLctMLVeoAIoZ6RlAgJJCpa2SCRK3PDOlJAOowsDYHCGYkZqZnlFiq2RubgEX1AeaCQBQSwECAAAUAAIACABCjAtHWn+5mToEAADhDgAAHQAAAAAAAAABAAAAAAAAAAAAdW5pdmVyc2FsL2NvbW1vbl9tZXNzYWdlcy5sbmdQSwECAAAUAAIACABCjAtH9T+SSB0EAABjEQAAJwAAAAAAAAABAAAAAAB1BAAAdW5pdmVyc2FsL2ZsYXNoX3B1Ymxpc2hpbmdfc2V0dGluZ3MueG1sUEsBAgAAFAACAAgAQowLR9jGdYm4AgAATwoAACEAAAAAAAAAAQAAAAAA1wgAAHVuaXZlcnNhbC9mbGFzaF9za2luX3NldHRpbmdzLnhtbFBLAQIAABQAAgAIAEKMC0dSdIS57wMAAHQQAAAmAAAAAAAAAAEAAAAAAM4LAAB1bml2ZXJzYWwvaHRtbF9wdWJsaXNoaW5nX3NldHRpbmdzLnhtbFBLAQIAABQAAgAIAEKMC0dZroMaoQEAACwGAAAfAAAAAAAAAAEAAAAAAAEQAAB1bml2ZXJzYWwvaHRtbF9za2luX3NldHRpbmdzLmpzUEsBAgAAFAACAAgAQowLRxra6juqAAAAHwEAABoAAAAAAAAAAQAAAAAA3xEAAHVuaXZlcnNhbC9pMThuX3ByZXNldHMueG1sUEsBAgAAFAACAAgAQowLR5QTsyJpAAAAbgAAABwAAAAAAAAAAQAAAAAAwRIAAHVuaXZlcnNhbC9sb2NhbF9zZXR0aW5ncy54bWxQSwECAAAUAAIACACDgI9FzoIJN+wCAACICAAAFAAAAAAAAAABAAAAAABkEwAAdW5pdmVyc2FsL3BsYXllci54bWxQSwECAAAUAAIACABCjAtHNdvZrWgBAADzAgAAKQAAAAAAAAABAAAAAACCFgAAdW5pdmVyc2FsL3NraW5fY3VzdG9taXphdGlvbl9zZXR0aW5ncy54bWxQSwECAAAUAAIACABDjAtHHvMfdXcWAAAYLAAAFwAAAAAAAAAAAAAAAAAxGAAAdW5pdmVyc2FsL3VuaXZlcnNhbC5wbmdQSwECAAAUAAIACABDjAtHkYMaBU0AAABrAAAAGwAAAAAAAAABAAAAAADdLgAAdW5pdmVyc2FsL3VuaXZlcnNhbC5wbmcueG1sUEsFBgAAAAALAAsASQMAAGMvAAAAAA=="/>
  <p:tag name="ISPRING_OUTPUT_FOLDER" val="C:\Users\jqwss2015\Desktop"/>
  <p:tag name="ISPRING_PRESENTATION_TITLE" val="65 TheMarketing_Powerpoint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FC86OXUUSPUYMxdDFZR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BwNdl_Dlkiv.a9T4s.9p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ahiHPoAgUCSFvfDntMViA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theme/_rels/theme3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theme/theme1.xml><?xml version="1.0" encoding="utf-8"?>
<a:theme xmlns:a="http://schemas.openxmlformats.org/drawingml/2006/main" name="White">
  <a:themeElements>
    <a:clrScheme name="TheMarketing_Color01">
      <a:dk1>
        <a:srgbClr val="000000"/>
      </a:dk1>
      <a:lt1>
        <a:srgbClr val="FFFFFF"/>
      </a:lt1>
      <a:dk2>
        <a:srgbClr val="2E3E4F"/>
      </a:dk2>
      <a:lt2>
        <a:srgbClr val="DCDEE0"/>
      </a:lt2>
      <a:accent1>
        <a:srgbClr val="327E99"/>
      </a:accent1>
      <a:accent2>
        <a:srgbClr val="2BA187"/>
      </a:accent2>
      <a:accent3>
        <a:srgbClr val="9FBC62"/>
      </a:accent3>
      <a:accent4>
        <a:srgbClr val="58566A"/>
      </a:accent4>
      <a:accent5>
        <a:srgbClr val="BF3B36"/>
      </a:accent5>
      <a:accent6>
        <a:srgbClr val="F39D3D"/>
      </a:accent6>
      <a:hlink>
        <a:srgbClr val="2E3E4F"/>
      </a:hlink>
      <a:folHlink>
        <a:srgbClr val="FF00FF"/>
      </a:folHlink>
    </a:clrScheme>
    <a:fontScheme name="White">
      <a:majorFont>
        <a:latin typeface="Helvetica Light"/>
        <a:ea typeface="Helvetica Light"/>
        <a:cs typeface="Helvetica Light"/>
      </a:majorFont>
      <a:minorFont>
        <a:latin typeface="Helvetica Light"/>
        <a:ea typeface="Helvetica Light"/>
        <a:cs typeface="Helvetica Light"/>
      </a:minorFont>
    </a:fontScheme>
    <a:fmtScheme name="Wh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25400" dir="5400000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50800" dist="12700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50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blipFill rotWithShape="1">
          <a:blip xmlns:r="http://schemas.openxmlformats.org/officeDocument/2006/relationships" r:embed="rId1"/>
          <a:srcRect/>
          <a:tile tx="0" ty="0" sx="100000" sy="100000" flip="none" algn="tl"/>
        </a:blipFill>
        <a:ln w="12700" cap="flat">
          <a:noFill/>
          <a:miter lim="400000"/>
        </a:ln>
        <a:effectLst>
          <a:outerShdw blurRad="38100" dist="25400" dir="5400000" rotWithShape="0">
            <a:srgbClr val="000000">
              <a:alpha val="50000"/>
            </a:srgbClr>
          </a:outerShdw>
        </a:effectLst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8255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200" b="0" i="0" u="none" strike="noStrike" cap="none" spc="0" normalizeH="0" baseline="0">
            <a:ln>
              <a:noFill/>
            </a:ln>
            <a:solidFill>
              <a:srgbClr val="FFFFFF"/>
            </a:solidFill>
            <a:effectLst/>
            <a:uFillTx/>
            <a:latin typeface="+mn-lt"/>
            <a:ea typeface="+mn-ea"/>
            <a:cs typeface="+mn-cs"/>
            <a:sym typeface="Helvetica Light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38100" cap="flat">
          <a:solidFill>
            <a:srgbClr val="000000"/>
          </a:solidFill>
          <a:prstDash val="solid"/>
          <a:miter lim="400000"/>
          <a:headEnd type="none" w="med" len="med"/>
          <a:tailEnd type="arrow" w="med" len="med"/>
        </a:ln>
        <a:effectLst/>
      </a:spPr>
      <a:bodyPr/>
      <a:lstStyle/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8255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50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n-lt"/>
            <a:ea typeface="+mn-ea"/>
            <a:cs typeface="+mn-cs"/>
            <a:sym typeface="Helvetica Light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2.xml><?xml version="1.0" encoding="utf-8"?>
<a:theme xmlns:a="http://schemas.openxmlformats.org/drawingml/2006/main" name="TechEd_2012_Template_16x9">
  <a:themeElements>
    <a:clrScheme name="自定义 22">
      <a:dk1>
        <a:srgbClr val="363535"/>
      </a:dk1>
      <a:lt1>
        <a:srgbClr val="FFFFFF"/>
      </a:lt1>
      <a:dk2>
        <a:srgbClr val="1D4C7C"/>
      </a:dk2>
      <a:lt2>
        <a:srgbClr val="3397D3"/>
      </a:lt2>
      <a:accent1>
        <a:srgbClr val="3397D3"/>
      </a:accent1>
      <a:accent2>
        <a:srgbClr val="8E499C"/>
      </a:accent2>
      <a:accent3>
        <a:srgbClr val="ED5326"/>
      </a:accent3>
      <a:accent4>
        <a:srgbClr val="3BBEB4"/>
      </a:accent4>
      <a:accent5>
        <a:srgbClr val="94C949"/>
      </a:accent5>
      <a:accent6>
        <a:srgbClr val="E7B921"/>
      </a:accent6>
      <a:hlink>
        <a:srgbClr val="FFFFFF"/>
      </a:hlink>
      <a:folHlink>
        <a:srgbClr val="FFFFFF"/>
      </a:folHlink>
    </a:clrScheme>
    <a:fontScheme name="Segoe UI - Segoe UI">
      <a:majorFont>
        <a:latin typeface="Segoe UI"/>
        <a:ea typeface=""/>
        <a:cs typeface=""/>
      </a:majorFont>
      <a:minorFont>
        <a:latin typeface="Segoe UI"/>
        <a:ea typeface=""/>
        <a:cs typeface=""/>
      </a:minorFont>
    </a:fontScheme>
    <a:fmtScheme name="Angles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20400000"/>
            </a:lightRig>
          </a:scene3d>
          <a:sp3d contourW="6350">
            <a:bevelT w="41275" h="19050" prst="angle"/>
            <a:contourClr>
              <a:schemeClr val="phClr">
                <a:shade val="25000"/>
                <a:satMod val="15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vert="horz" wrap="square" lIns="91436" tIns="45718" rIns="91436" bIns="45718" numCol="1" rtlCol="0" anchor="ctr" anchorCtr="0" compatLnSpc="1">
        <a:prstTxWarp prst="textNoShape">
          <a:avLst/>
        </a:prstTxWarp>
      </a:bodyPr>
      <a:lstStyle>
        <a:defPPr algn="ctr" defTabSz="914099">
          <a:defRPr sz="2200" dirty="0" smtClean="0">
            <a:solidFill>
              <a:srgbClr val="FFFFFF">
                <a:alpha val="98824"/>
              </a:srgbClr>
            </a:solidFill>
            <a:latin typeface="Segoe UI" pitchFamily="34" charset="0"/>
            <a:ea typeface="Segoe UI" pitchFamily="34" charset="0"/>
            <a:cs typeface="Segoe UI" pitchFamily="34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91440" tIns="91440" rIns="91440" bIns="91440" rtlCol="0">
        <a:spAutoFit/>
      </a:bodyPr>
      <a:lstStyle>
        <a:defPPr>
          <a:lnSpc>
            <a:spcPct val="90000"/>
          </a:lnSpc>
          <a:spcBef>
            <a:spcPct val="20000"/>
          </a:spcBef>
          <a:buSzPct val="90000"/>
          <a:defRPr sz="3200" dirty="0" err="1" smtClean="0">
            <a:solidFill>
              <a:schemeClr val="tx1">
                <a:alpha val="99000"/>
              </a:schemeClr>
            </a:solidFill>
          </a:defRPr>
        </a:defPPr>
      </a:lstStyle>
    </a:txDef>
  </a:objectDefaults>
  <a:extraClrSchemeLst/>
</a:theme>
</file>

<file path=ppt/theme/theme3.xml><?xml version="1.0" encoding="utf-8"?>
<a:theme xmlns:a="http://schemas.openxmlformats.org/drawingml/2006/main" name="White">
  <a:themeElements>
    <a:clrScheme name="White">
      <a:dk1>
        <a:srgbClr val="000000"/>
      </a:dk1>
      <a:lt1>
        <a:srgbClr val="FFFFFF"/>
      </a:lt1>
      <a:dk2>
        <a:srgbClr val="53585F"/>
      </a:dk2>
      <a:lt2>
        <a:srgbClr val="DCDEE0"/>
      </a:lt2>
      <a:accent1>
        <a:srgbClr val="0365C0"/>
      </a:accent1>
      <a:accent2>
        <a:srgbClr val="00882B"/>
      </a:accent2>
      <a:accent3>
        <a:srgbClr val="DCBD23"/>
      </a:accent3>
      <a:accent4>
        <a:srgbClr val="DE6A10"/>
      </a:accent4>
      <a:accent5>
        <a:srgbClr val="C82506"/>
      </a:accent5>
      <a:accent6>
        <a:srgbClr val="773F9B"/>
      </a:accent6>
      <a:hlink>
        <a:srgbClr val="0000FF"/>
      </a:hlink>
      <a:folHlink>
        <a:srgbClr val="FF00FF"/>
      </a:folHlink>
    </a:clrScheme>
    <a:fontScheme name="White">
      <a:majorFont>
        <a:latin typeface="Helvetica Light"/>
        <a:ea typeface="Helvetica Light"/>
        <a:cs typeface="Helvetica Light"/>
      </a:majorFont>
      <a:minorFont>
        <a:latin typeface="Helvetica Light"/>
        <a:ea typeface="Helvetica Light"/>
        <a:cs typeface="Helvetica Light"/>
      </a:minorFont>
    </a:fontScheme>
    <a:fmtScheme name="Wh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25400" dir="5400000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50800" dist="12700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50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blipFill rotWithShape="1">
          <a:blip xmlns:r="http://schemas.openxmlformats.org/officeDocument/2006/relationships" r:embed="rId1"/>
          <a:srcRect/>
          <a:tile tx="0" ty="0" sx="100000" sy="100000" flip="none" algn="tl"/>
        </a:blipFill>
        <a:ln w="12700" cap="flat">
          <a:noFill/>
          <a:miter lim="400000"/>
        </a:ln>
        <a:effectLst>
          <a:outerShdw blurRad="38100" dist="25400" dir="5400000" rotWithShape="0">
            <a:srgbClr val="000000">
              <a:alpha val="50000"/>
            </a:srgbClr>
          </a:outerShdw>
        </a:effectLst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8255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200" b="0" i="0" u="none" strike="noStrike" cap="none" spc="0" normalizeH="0" baseline="0">
            <a:ln>
              <a:noFill/>
            </a:ln>
            <a:solidFill>
              <a:srgbClr val="FFFFFF"/>
            </a:solidFill>
            <a:effectLst/>
            <a:uFillTx/>
            <a:latin typeface="+mn-lt"/>
            <a:ea typeface="+mn-ea"/>
            <a:cs typeface="+mn-cs"/>
            <a:sym typeface="Helvetica Light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rgbClr val="000000"/>
          </a:solidFill>
          <a:prstDash val="solid"/>
          <a:miter lim="400000"/>
        </a:ln>
        <a:effectLst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8255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50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n-lt"/>
            <a:ea typeface="+mn-ea"/>
            <a:cs typeface="+mn-cs"/>
            <a:sym typeface="Helvetica Light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2011</TotalTime>
  <Words>243</Words>
  <Application>Microsoft Office PowerPoint</Application>
  <PresentationFormat>自定义</PresentationFormat>
  <Paragraphs>91</Paragraphs>
  <Slides>8</Slides>
  <Notes>2</Notes>
  <HiddenSlides>0</HiddenSlides>
  <MMClips>0</MMClips>
  <ScaleCrop>false</ScaleCrop>
  <HeadingPairs>
    <vt:vector size="8" baseType="variant">
      <vt:variant>
        <vt:lpstr>已用的字体</vt:lpstr>
      </vt:variant>
      <vt:variant>
        <vt:i4>15</vt:i4>
      </vt:variant>
      <vt:variant>
        <vt:lpstr>主题</vt:lpstr>
      </vt:variant>
      <vt:variant>
        <vt:i4>2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8</vt:i4>
      </vt:variant>
    </vt:vector>
  </HeadingPairs>
  <TitlesOfParts>
    <vt:vector size="26" baseType="lpstr">
      <vt:lpstr>Adobe 仿宋 Std R</vt:lpstr>
      <vt:lpstr>Avenir Roman</vt:lpstr>
      <vt:lpstr>Bebas</vt:lpstr>
      <vt:lpstr>Helvetica Light</vt:lpstr>
      <vt:lpstr>Lato</vt:lpstr>
      <vt:lpstr>ＭＳ Ｐゴシック</vt:lpstr>
      <vt:lpstr>宋体</vt:lpstr>
      <vt:lpstr>微软雅黑</vt:lpstr>
      <vt:lpstr>微软雅黑</vt:lpstr>
      <vt:lpstr>Arial</vt:lpstr>
      <vt:lpstr>Arial</vt:lpstr>
      <vt:lpstr>Calibri</vt:lpstr>
      <vt:lpstr>Segoe UI</vt:lpstr>
      <vt:lpstr>Segoe UI Light</vt:lpstr>
      <vt:lpstr>Wingdings</vt:lpstr>
      <vt:lpstr>White</vt:lpstr>
      <vt:lpstr>TechEd_2012_Template_16x9</vt:lpstr>
      <vt:lpstr>think-cell Slide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65 TheMarketing_Powerpoint</dc:title>
  <dc:creator>jqwss2015</dc:creator>
  <cp:lastModifiedBy>Ray Liu</cp:lastModifiedBy>
  <cp:revision>117</cp:revision>
  <dcterms:modified xsi:type="dcterms:W3CDTF">2017-05-30T07:48:46Z</dcterms:modified>
</cp:coreProperties>
</file>